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695" r:id="rId3"/>
    <p:sldMasterId id="2147483706" r:id="rId4"/>
    <p:sldMasterId id="2147483717" r:id="rId5"/>
  </p:sldMasterIdLst>
  <p:notesMasterIdLst>
    <p:notesMasterId r:id="rId32"/>
  </p:notesMasterIdLst>
  <p:handoutMasterIdLst>
    <p:handoutMasterId r:id="rId33"/>
  </p:handoutMasterIdLst>
  <p:sldIdLst>
    <p:sldId id="256" r:id="rId6"/>
    <p:sldId id="357" r:id="rId7"/>
    <p:sldId id="343" r:id="rId8"/>
    <p:sldId id="328" r:id="rId9"/>
    <p:sldId id="329" r:id="rId10"/>
    <p:sldId id="330" r:id="rId11"/>
    <p:sldId id="331" r:id="rId12"/>
    <p:sldId id="332" r:id="rId13"/>
    <p:sldId id="342" r:id="rId14"/>
    <p:sldId id="345" r:id="rId15"/>
    <p:sldId id="346" r:id="rId16"/>
    <p:sldId id="347" r:id="rId17"/>
    <p:sldId id="348" r:id="rId18"/>
    <p:sldId id="349" r:id="rId19"/>
    <p:sldId id="350" r:id="rId20"/>
    <p:sldId id="351" r:id="rId21"/>
    <p:sldId id="352" r:id="rId22"/>
    <p:sldId id="353" r:id="rId23"/>
    <p:sldId id="312" r:id="rId24"/>
    <p:sldId id="341" r:id="rId25"/>
    <p:sldId id="301" r:id="rId26"/>
    <p:sldId id="340" r:id="rId27"/>
    <p:sldId id="354" r:id="rId28"/>
    <p:sldId id="355" r:id="rId29"/>
    <p:sldId id="356" r:id="rId30"/>
    <p:sldId id="338" r:id="rId31"/>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3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434" autoAdjust="0"/>
  </p:normalViewPr>
  <p:slideViewPr>
    <p:cSldViewPr snapToGrid="0" showGuides="1">
      <p:cViewPr varScale="1">
        <p:scale>
          <a:sx n="98" d="100"/>
          <a:sy n="98" d="100"/>
        </p:scale>
        <p:origin x="600" y="84"/>
      </p:cViewPr>
      <p:guideLst>
        <p:guide orient="horz" pos="1620"/>
        <p:guide pos="2880"/>
      </p:guideLst>
    </p:cSldViewPr>
  </p:slideViewPr>
  <p:notesTextViewPr>
    <p:cViewPr>
      <p:scale>
        <a:sx n="1" d="1"/>
        <a:sy n="1" d="1"/>
      </p:scale>
      <p:origin x="0" y="0"/>
    </p:cViewPr>
  </p:notesTextViewPr>
  <p:notesViewPr>
    <p:cSldViewPr snapToGrid="0" showGuides="1">
      <p:cViewPr varScale="1">
        <p:scale>
          <a:sx n="57" d="100"/>
          <a:sy n="57" d="100"/>
        </p:scale>
        <p:origin x="283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3B9D668-99ED-49CF-831F-A840C6D76BAE}" type="datetimeFigureOut">
              <a:rPr lang="en-US" smtClean="0"/>
              <a:pPr/>
              <a:t>10/6/201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292529-66D3-43A7-9086-539AA4A35910}" type="slidenum">
              <a:rPr lang="en-US" smtClean="0"/>
              <a:pPr/>
              <a:t>‹#›</a:t>
            </a:fld>
            <a:endParaRPr lang="en-US"/>
          </a:p>
        </p:txBody>
      </p:sp>
    </p:spTree>
    <p:extLst>
      <p:ext uri="{BB962C8B-B14F-4D97-AF65-F5344CB8AC3E}">
        <p14:creationId xmlns:p14="http://schemas.microsoft.com/office/powerpoint/2010/main" val="2956762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D4A736-C162-4D71-AF44-405F76366576}" type="datetimeFigureOut">
              <a:rPr lang="en-US" smtClean="0"/>
              <a:pPr/>
              <a:t>10/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297AD8-F30C-4F9C-820E-149D077B2CA4}" type="slidenum">
              <a:rPr lang="en-US" smtClean="0"/>
              <a:pPr/>
              <a:t>‹#›</a:t>
            </a:fld>
            <a:endParaRPr lang="en-US"/>
          </a:p>
        </p:txBody>
      </p:sp>
    </p:spTree>
    <p:extLst>
      <p:ext uri="{BB962C8B-B14F-4D97-AF65-F5344CB8AC3E}">
        <p14:creationId xmlns:p14="http://schemas.microsoft.com/office/powerpoint/2010/main" val="267202509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 Id="rId9"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rse Title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www.edureka.co/angular-js</a:t>
            </a: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07575" y="-6432"/>
            <a:ext cx="2634018" cy="2634018"/>
          </a:xfrm>
          <a:prstGeom prst="rect">
            <a:avLst/>
          </a:prstGeom>
        </p:spPr>
      </p:pic>
    </p:spTree>
    <p:extLst>
      <p:ext uri="{BB962C8B-B14F-4D97-AF65-F5344CB8AC3E}">
        <p14:creationId xmlns:p14="http://schemas.microsoft.com/office/powerpoint/2010/main" val="1849526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nA">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6" name="Rectangle 5"/>
          <p:cNvSpPr/>
          <p:nvPr userDrawn="1"/>
        </p:nvSpPr>
        <p:spPr>
          <a:xfrm>
            <a:off x="3282613" y="761226"/>
            <a:ext cx="2165978" cy="477054"/>
          </a:xfrm>
          <a:prstGeom prst="rect">
            <a:avLst/>
          </a:prstGeom>
        </p:spPr>
        <p:txBody>
          <a:bodyPr wrap="none">
            <a:spAutoFit/>
          </a:bodyPr>
          <a:lstStyle/>
          <a:p>
            <a:pPr defTabSz="685766"/>
            <a:r>
              <a:rPr lang="en-IN" sz="2500" b="1" dirty="0">
                <a:solidFill>
                  <a:srgbClr val="002060"/>
                </a:solidFill>
                <a:latin typeface="Castellar" pitchFamily="18" charset="0"/>
              </a:rPr>
              <a:t>Questions</a:t>
            </a:r>
          </a:p>
        </p:txBody>
      </p:sp>
      <p:pic>
        <p:nvPicPr>
          <p:cNvPr id="7"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5196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rvey">
    <p:spTree>
      <p:nvGrpSpPr>
        <p:cNvPr id="1" name=""/>
        <p:cNvGrpSpPr/>
        <p:nvPr/>
      </p:nvGrpSpPr>
      <p:grpSpPr>
        <a:xfrm>
          <a:off x="0" y="0"/>
          <a:ext cx="0" cy="0"/>
          <a:chOff x="0" y="0"/>
          <a:chExt cx="0" cy="0"/>
        </a:xfrm>
      </p:grpSpPr>
      <p:sp>
        <p:nvSpPr>
          <p:cNvPr id="5" name="Rectangle 4"/>
          <p:cNvSpPr/>
          <p:nvPr userDrawn="1"/>
        </p:nvSpPr>
        <p:spPr>
          <a:xfrm>
            <a:off x="533400" y="819150"/>
            <a:ext cx="8305800" cy="954107"/>
          </a:xfrm>
          <a:prstGeom prst="rect">
            <a:avLst/>
          </a:prstGeom>
        </p:spPr>
        <p:txBody>
          <a:bodyPr wrap="square">
            <a:spAutoFit/>
          </a:bodyPr>
          <a:lstStyle/>
          <a:p>
            <a:r>
              <a:rPr lang="en-IN" sz="1400" dirty="0" smtClean="0">
                <a:solidFill>
                  <a:srgbClr val="262626"/>
                </a:solidFill>
                <a:latin typeface="Tahoma" pitchFamily="34" charset="0"/>
                <a:ea typeface="Tahoma" pitchFamily="34" charset="0"/>
                <a:cs typeface="Tahoma" pitchFamily="34" charset="0"/>
              </a:rPr>
              <a:t>Your feedback is important to us, be it a compliment, a suggestion or a complaint. It helps us to make the course better!</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Please spare few minutes to take the survey after the webinar. </a:t>
            </a:r>
          </a:p>
        </p:txBody>
      </p:sp>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295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
        <p:nvSpPr>
          <p:cNvPr id="7" name="TextBox 6"/>
          <p:cNvSpPr txBox="1"/>
          <p:nvPr userDrawn="1"/>
        </p:nvSpPr>
        <p:spPr>
          <a:xfrm>
            <a:off x="3997116" y="843185"/>
            <a:ext cx="2091224" cy="1200329"/>
          </a:xfrm>
          <a:prstGeom prst="rect">
            <a:avLst/>
          </a:prstGeom>
          <a:noFill/>
        </p:spPr>
        <p:txBody>
          <a:bodyPr wrap="square" rtlCol="0">
            <a:spAutoFit/>
          </a:bodyPr>
          <a:lstStyle/>
          <a:p>
            <a:pPr algn="ctr"/>
            <a:r>
              <a:rPr lang="en-IN" sz="1200" dirty="0">
                <a:solidFill>
                  <a:srgbClr val="262626"/>
                </a:solidFill>
                <a:latin typeface="Tahoma" pitchFamily="34" charset="0"/>
                <a:ea typeface="Tahoma" pitchFamily="34" charset="0"/>
                <a:cs typeface="Tahoma" pitchFamily="34" charset="0"/>
              </a:rPr>
              <a:t>Hello There!!</a:t>
            </a:r>
          </a:p>
          <a:p>
            <a:pPr algn="ctr"/>
            <a:r>
              <a:rPr lang="en-IN" sz="1200" dirty="0">
                <a:solidFill>
                  <a:srgbClr val="262626"/>
                </a:solidFill>
                <a:latin typeface="Tahoma" pitchFamily="34" charset="0"/>
                <a:ea typeface="Tahoma" pitchFamily="34" charset="0"/>
                <a:cs typeface="Tahoma" pitchFamily="34" charset="0"/>
              </a:rPr>
              <a:t>My name is Annie. </a:t>
            </a:r>
            <a:br>
              <a:rPr lang="en-IN" sz="1200" dirty="0">
                <a:solidFill>
                  <a:srgbClr val="262626"/>
                </a:solidFill>
                <a:latin typeface="Tahoma" pitchFamily="34" charset="0"/>
                <a:ea typeface="Tahoma" pitchFamily="34" charset="0"/>
                <a:cs typeface="Tahoma" pitchFamily="34" charset="0"/>
              </a:rPr>
            </a:br>
            <a:r>
              <a:rPr lang="en-IN" sz="1200" dirty="0">
                <a:solidFill>
                  <a:srgbClr val="262626"/>
                </a:solidFill>
                <a:latin typeface="Tahoma" pitchFamily="34" charset="0"/>
                <a:ea typeface="Tahoma" pitchFamily="34" charset="0"/>
                <a:cs typeface="Tahoma" pitchFamily="34" charset="0"/>
              </a:rPr>
              <a:t>I love quizzes and</a:t>
            </a:r>
          </a:p>
          <a:p>
            <a:pPr algn="ctr"/>
            <a:r>
              <a:rPr lang="en-IN" sz="1200" dirty="0">
                <a:solidFill>
                  <a:srgbClr val="262626"/>
                </a:solidFill>
                <a:latin typeface="Tahoma" pitchFamily="34" charset="0"/>
                <a:ea typeface="Tahoma" pitchFamily="34" charset="0"/>
                <a:cs typeface="Tahoma" pitchFamily="34" charset="0"/>
              </a:rPr>
              <a:t>puzzles and I am here to make you guys think and answer my questions.</a:t>
            </a:r>
          </a:p>
        </p:txBody>
      </p:sp>
      <p:sp>
        <p:nvSpPr>
          <p:cNvPr id="8" name="Oval Callout 7"/>
          <p:cNvSpPr/>
          <p:nvPr userDrawn="1"/>
        </p:nvSpPr>
        <p:spPr>
          <a:xfrm>
            <a:off x="3892021" y="765256"/>
            <a:ext cx="2301413" cy="1520575"/>
          </a:xfrm>
          <a:prstGeom prst="wedgeEllipseCallout">
            <a:avLst>
              <a:gd name="adj1" fmla="val -66422"/>
              <a:gd name="adj2" fmla="val 5292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Tree>
    <p:extLst>
      <p:ext uri="{BB962C8B-B14F-4D97-AF65-F5344CB8AC3E}">
        <p14:creationId xmlns:p14="http://schemas.microsoft.com/office/powerpoint/2010/main" val="35811161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Tree>
    <p:extLst>
      <p:ext uri="{BB962C8B-B14F-4D97-AF65-F5344CB8AC3E}">
        <p14:creationId xmlns:p14="http://schemas.microsoft.com/office/powerpoint/2010/main" val="2053443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9144001" cy="5147673"/>
          </a:xfrm>
          <a:prstGeom prst="rect">
            <a:avLst/>
          </a:prstGeom>
        </p:spPr>
      </p:pic>
      <p:pic>
        <p:nvPicPr>
          <p:cNvPr id="4"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4668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ptiona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7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127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31175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31175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763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ptional 1">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4572001" y="1355759"/>
            <a:ext cx="3929586" cy="2382227"/>
          </a:xfrm>
          <a:prstGeom prst="rect">
            <a:avLst/>
          </a:prstGeom>
        </p:spPr>
        <p:txBody>
          <a:bodyPr/>
          <a:lstStyle/>
          <a:p>
            <a:r>
              <a:rPr lang="en-US" smtClean="0"/>
              <a:t>Click icon to add picture</a:t>
            </a:r>
            <a:endParaRPr lang="en-US"/>
          </a:p>
        </p:txBody>
      </p:sp>
      <p:sp>
        <p:nvSpPr>
          <p:cNvPr id="6" name="Text Placeholder 5"/>
          <p:cNvSpPr>
            <a:spLocks noGrp="1"/>
          </p:cNvSpPr>
          <p:nvPr>
            <p:ph type="body" sz="quarter" idx="11"/>
          </p:nvPr>
        </p:nvSpPr>
        <p:spPr>
          <a:xfrm>
            <a:off x="467139" y="832639"/>
            <a:ext cx="3943350" cy="3763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52306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7"/>
          <p:cNvSpPr/>
          <p:nvPr userDrawn="1"/>
        </p:nvSpPr>
        <p:spPr>
          <a:xfrm>
            <a:off x="0" y="598488"/>
            <a:ext cx="466725" cy="82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800" dirty="0">
              <a:solidFill>
                <a:prstClr val="white"/>
              </a:solidFill>
            </a:endParaRPr>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10"/>
          <p:cNvSpPr txBox="1"/>
          <p:nvPr userDrawn="1"/>
        </p:nvSpPr>
        <p:spPr>
          <a:xfrm>
            <a:off x="34925" y="4795838"/>
            <a:ext cx="1441450" cy="276225"/>
          </a:xfrm>
          <a:prstGeom prst="rect">
            <a:avLst/>
          </a:prstGeom>
          <a:noFill/>
        </p:spPr>
        <p:txBody>
          <a:bodyPr>
            <a:spAutoFit/>
          </a:bodyPr>
          <a:lstStyle>
            <a:lvl1pPr defTabSz="684213">
              <a:defRPr sz="1300">
                <a:solidFill>
                  <a:schemeClr val="tx1"/>
                </a:solidFill>
                <a:latin typeface="Arial" panose="020B0604020202020204" pitchFamily="34" charset="0"/>
                <a:cs typeface="Arial" panose="020B0604020202020204" pitchFamily="34" charset="0"/>
              </a:defRPr>
            </a:lvl1pPr>
            <a:lvl2pPr marL="742950" indent="-285750" defTabSz="684213">
              <a:defRPr sz="1300">
                <a:solidFill>
                  <a:schemeClr val="tx1"/>
                </a:solidFill>
                <a:latin typeface="Arial" panose="020B0604020202020204" pitchFamily="34" charset="0"/>
                <a:cs typeface="Arial" panose="020B0604020202020204" pitchFamily="34" charset="0"/>
              </a:defRPr>
            </a:lvl2pPr>
            <a:lvl3pPr marL="1143000" indent="-228600" defTabSz="684213">
              <a:defRPr sz="1300">
                <a:solidFill>
                  <a:schemeClr val="tx1"/>
                </a:solidFill>
                <a:latin typeface="Arial" panose="020B0604020202020204" pitchFamily="34" charset="0"/>
                <a:cs typeface="Arial" panose="020B0604020202020204" pitchFamily="34" charset="0"/>
              </a:defRPr>
            </a:lvl3pPr>
            <a:lvl4pPr marL="1600200" indent="-228600" defTabSz="684213">
              <a:defRPr sz="1300">
                <a:solidFill>
                  <a:schemeClr val="tx1"/>
                </a:solidFill>
                <a:latin typeface="Arial" panose="020B0604020202020204" pitchFamily="34" charset="0"/>
                <a:cs typeface="Arial" panose="020B0604020202020204" pitchFamily="34" charset="0"/>
              </a:defRPr>
            </a:lvl4pPr>
            <a:lvl5pPr marL="2057400" indent="-228600" defTabSz="684213">
              <a:defRPr sz="1300">
                <a:solidFill>
                  <a:schemeClr val="tx1"/>
                </a:solidFill>
                <a:latin typeface="Arial" panose="020B0604020202020204" pitchFamily="34" charset="0"/>
                <a:cs typeface="Arial" panose="020B0604020202020204" pitchFamily="34" charset="0"/>
              </a:defRPr>
            </a:lvl5pPr>
            <a:lvl6pPr marL="25146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07A182C6-DE33-4717-9328-D7A600982F21}" type="slidenum">
              <a:rPr lang="en-IN" altLang="en-US" sz="1200" smtClean="0">
                <a:solidFill>
                  <a:srgbClr val="0070C0"/>
                </a:solidFill>
                <a:latin typeface="Tahoma" panose="020B0604030504040204" pitchFamily="34" charset="0"/>
                <a:cs typeface="Tahoma" panose="020B0604030504040204" pitchFamily="34" charset="0"/>
              </a:rPr>
              <a:pPr>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5" name="TextBox 10"/>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6F270763-AED9-45CD-9365-BBCA49DD3BFC}" type="slidenum">
              <a:rPr lang="en-IN" altLang="en-US" sz="1200" smtClean="0">
                <a:solidFill>
                  <a:srgbClr val="0070C0"/>
                </a:solidFill>
                <a:latin typeface="Tahoma" panose="020B0604030504040204" pitchFamily="34" charset="0"/>
                <a:cs typeface="Tahoma" panose="020B0604030504040204" pitchFamily="34" charset="0"/>
              </a:rPr>
              <a:pPr>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6" name="TextBox 5"/>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defTabSz="914400">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E72573F4-59D0-4B9B-8D74-A125A38C884A}" type="slidenum">
              <a:rPr lang="en-IN" altLang="en-US" sz="1200" smtClean="0">
                <a:solidFill>
                  <a:srgbClr val="0070C0"/>
                </a:solidFill>
                <a:latin typeface="Tahoma" panose="020B0604030504040204" pitchFamily="34" charset="0"/>
                <a:cs typeface="Tahoma" panose="020B0604030504040204" pitchFamily="34" charset="0"/>
              </a:rPr>
              <a:pPr defTabSz="914400">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53912879"/>
      </p:ext>
    </p:extLst>
  </p:cSld>
  <p:clrMapOvr>
    <a:masterClrMapping/>
  </p:clrMapOvr>
  <p:transition spd="slow"/>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6"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ww.edureka.co/angular-js</a:t>
            </a: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82205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38252111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ow it works">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graphicFrame>
        <p:nvGraphicFramePr>
          <p:cNvPr id="5" name="Table 4"/>
          <p:cNvGraphicFramePr>
            <a:graphicFrameLocks noGrp="1"/>
          </p:cNvGraphicFramePr>
          <p:nvPr userDrawn="1">
            <p:extLst>
              <p:ext uri="{D42A27DB-BD31-4B8C-83A1-F6EECF244321}">
                <p14:modId xmlns:p14="http://schemas.microsoft.com/office/powerpoint/2010/main" val="2396403058"/>
              </p:ext>
            </p:extLst>
          </p:nvPr>
        </p:nvGraphicFramePr>
        <p:xfrm>
          <a:off x="456714" y="574982"/>
          <a:ext cx="6059016" cy="4457700"/>
        </p:xfrm>
        <a:graphic>
          <a:graphicData uri="http://schemas.openxmlformats.org/drawingml/2006/table">
            <a:tbl>
              <a:tblPr firstRow="1" bandRow="1"/>
              <a:tblGrid>
                <a:gridCol w="1066800"/>
                <a:gridCol w="4992216"/>
              </a:tblGrid>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LIVE Online Clas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Class Recording in LM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24/7 Post Class Support</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Module Wise Quiz </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Project Work</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Verifiable Certificate</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bl>
          </a:graphicData>
        </a:graphic>
      </p:graphicFrame>
      <p:grpSp>
        <p:nvGrpSpPr>
          <p:cNvPr id="6" name="Group 5"/>
          <p:cNvGrpSpPr/>
          <p:nvPr userDrawn="1"/>
        </p:nvGrpSpPr>
        <p:grpSpPr>
          <a:xfrm>
            <a:off x="533400" y="742950"/>
            <a:ext cx="965632" cy="4114800"/>
            <a:chOff x="533400" y="895350"/>
            <a:chExt cx="965632" cy="4114800"/>
          </a:xfrm>
        </p:grpSpPr>
        <p:pic>
          <p:nvPicPr>
            <p:cNvPr id="7" name="Picture 6"/>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33400" y="1610550"/>
              <a:ext cx="853215" cy="504000"/>
            </a:xfrm>
            <a:prstGeom prst="rect">
              <a:avLst/>
            </a:prstGeom>
          </p:spPr>
        </p:pic>
        <p:grpSp>
          <p:nvGrpSpPr>
            <p:cNvPr id="8" name="Group 7"/>
            <p:cNvGrpSpPr/>
            <p:nvPr/>
          </p:nvGrpSpPr>
          <p:grpSpPr>
            <a:xfrm>
              <a:off x="762000" y="2296350"/>
              <a:ext cx="720000" cy="504000"/>
              <a:chOff x="5659045" y="1210738"/>
              <a:chExt cx="2153043" cy="1368288"/>
            </a:xfrm>
          </p:grpSpPr>
          <p:pic>
            <p:nvPicPr>
              <p:cNvPr id="13" name="Picture 12"/>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6641654" y="1408592"/>
                <a:ext cx="1170434" cy="1170434"/>
              </a:xfrm>
              <a:prstGeom prst="rect">
                <a:avLst/>
              </a:prstGeom>
            </p:spPr>
          </p:pic>
          <p:pic>
            <p:nvPicPr>
              <p:cNvPr id="14" name="Picture 13"/>
              <p:cNvPicPr>
                <a:picLocks noChangeAspect="1"/>
              </p:cNvPicPr>
              <p:nvPr/>
            </p:nvPicPr>
            <p:blipFill>
              <a:blip r:embed="rId4"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659045" y="1210738"/>
                <a:ext cx="1135108" cy="1196016"/>
              </a:xfrm>
              <a:prstGeom prst="rect">
                <a:avLst/>
              </a:prstGeom>
            </p:spPr>
          </p:pic>
        </p:grpSp>
        <p:pic>
          <p:nvPicPr>
            <p:cNvPr id="9" name="Picture 2" descr="http://www.thewellatlentrise.org/img/quiz.png"/>
            <p:cNvPicPr>
              <a:picLocks noChangeAspect="1" noChangeArrowheads="1"/>
            </p:cNvPicPr>
            <p:nvPr/>
          </p:nvPicPr>
          <p:blipFill>
            <a:blip r:embed="rId5" cstate="print">
              <a:clrChange>
                <a:clrFrom>
                  <a:srgbClr val="000000">
                    <a:alpha val="0"/>
                  </a:srgbClr>
                </a:clrFrom>
                <a:clrTo>
                  <a:srgbClr val="000000">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38200" y="3028950"/>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3790950"/>
              <a:ext cx="612000" cy="560523"/>
            </a:xfrm>
            <a:prstGeom prst="rect">
              <a:avLst/>
            </a:prstGeom>
          </p:spPr>
        </p:pic>
        <p:pic>
          <p:nvPicPr>
            <p:cNvPr id="11" name="Picture 10"/>
            <p:cNvPicPr>
              <a:picLocks noChangeAspect="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4398150"/>
              <a:ext cx="737032" cy="612000"/>
            </a:xfrm>
            <a:prstGeom prst="rect">
              <a:avLst/>
            </a:prstGeom>
          </p:spPr>
        </p:pic>
        <p:pic>
          <p:nvPicPr>
            <p:cNvPr id="12" name="Picture 11"/>
            <p:cNvPicPr>
              <a:picLocks noChangeAspect="1"/>
            </p:cNvPicPr>
            <p:nvPr/>
          </p:nvPicPr>
          <p:blipFill>
            <a:blip r:embed="rId8"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838200" y="895350"/>
              <a:ext cx="504000" cy="509278"/>
            </a:xfrm>
            <a:prstGeom prst="rect">
              <a:avLst/>
            </a:prstGeom>
          </p:spPr>
        </p:pic>
      </p:grpSp>
      <p:pic>
        <p:nvPicPr>
          <p:cNvPr id="15" name="Picture 7" descr="edureka logol.jpg"/>
          <p:cNvPicPr>
            <a:picLocks noChangeAspect="1"/>
          </p:cNvPicPr>
          <p:nvPr userDrawn="1"/>
        </p:nvPicPr>
        <p:blipFill>
          <a:blip r:embed="rId9"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87306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15901429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81848833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28880157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4033015"/>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4233329712"/>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8393738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293746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30488329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0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35184462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jective ">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3" name="Picture 2"/>
          <p:cNvPicPr>
            <a:picLocks noChangeAspect="1"/>
          </p:cNvPicPr>
          <p:nvPr userDrawn="1"/>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4229100" y="1128714"/>
            <a:ext cx="4457700" cy="363855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4"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2122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7329123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4644006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13962994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8958910"/>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2792948205"/>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335799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5526115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97246546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147835680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406719983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Main Content ">
    <p:spTree>
      <p:nvGrpSpPr>
        <p:cNvPr id="1" name=""/>
        <p:cNvGrpSpPr/>
        <p:nvPr/>
      </p:nvGrpSpPr>
      <p:grpSpPr>
        <a:xfrm>
          <a:off x="0" y="0"/>
          <a:ext cx="0" cy="0"/>
          <a:chOff x="0" y="0"/>
          <a:chExt cx="0" cy="0"/>
        </a:xfrm>
      </p:grpSpPr>
      <p:sp>
        <p:nvSpPr>
          <p:cNvPr id="7"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9"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453401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5615704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57246492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3677713"/>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3336119722"/>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1579138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7244974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67932309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738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34602986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15507092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Lab">
    <p:spTree>
      <p:nvGrpSpPr>
        <p:cNvPr id="1" name=""/>
        <p:cNvGrpSpPr/>
        <p:nvPr/>
      </p:nvGrpSpPr>
      <p:grpSpPr>
        <a:xfrm>
          <a:off x="0" y="0"/>
          <a:ext cx="0" cy="0"/>
          <a:chOff x="0" y="0"/>
          <a:chExt cx="0" cy="0"/>
        </a:xfrm>
      </p:grpSpPr>
      <p:sp>
        <p:nvSpPr>
          <p:cNvPr id="4" name="Rectangle 3"/>
          <p:cNvSpPr/>
          <p:nvPr userDrawn="1"/>
        </p:nvSpPr>
        <p:spPr>
          <a:xfrm>
            <a:off x="3971311" y="2574648"/>
            <a:ext cx="1304074" cy="584775"/>
          </a:xfrm>
          <a:prstGeom prst="rect">
            <a:avLst/>
          </a:prstGeom>
        </p:spPr>
        <p:txBody>
          <a:bodyPr wrap="square">
            <a:spAutoFit/>
          </a:bodyPr>
          <a:lstStyle/>
          <a:p>
            <a:pPr algn="ctr"/>
            <a:r>
              <a:rPr lang="en-IN" sz="3200" b="1" dirty="0" smtClean="0">
                <a:solidFill>
                  <a:srgbClr val="0070C0"/>
                </a:solidFill>
                <a:latin typeface="+mj-lt"/>
                <a:ea typeface="Tahoma" pitchFamily="34" charset="0"/>
                <a:cs typeface="Tahoma" pitchFamily="34" charset="0"/>
              </a:rPr>
              <a:t>DEMO</a:t>
            </a:r>
          </a:p>
        </p:txBody>
      </p:sp>
      <p:pic>
        <p:nvPicPr>
          <p:cNvPr id="3"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31393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07169878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8578916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5527175"/>
      </p:ext>
    </p:extLst>
  </p:cSld>
  <p:clrMapOvr>
    <a:masterClrMapping/>
  </p:clrMapOvr>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411618400"/>
      </p:ext>
    </p:extLst>
  </p:cSld>
  <p:clrMapOvr>
    <a:masterClrMapping/>
  </p:clrMapOvr>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8948029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25754285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9604542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ssignment">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tretch>
            <a:fillRect/>
          </a:stretch>
        </p:blipFill>
        <p:spPr>
          <a:xfrm>
            <a:off x="1243685" y="555627"/>
            <a:ext cx="6624736" cy="416100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7468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rther Reading">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6"/>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13581" r="3827" b="9027"/>
          <a:stretch/>
        </p:blipFill>
        <p:spPr>
          <a:xfrm>
            <a:off x="4680992" y="1265981"/>
            <a:ext cx="3744416" cy="3013258"/>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7137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work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lum bright="70000" contrast="-70000"/>
          </a:blip>
          <a:stretch>
            <a:fillRect/>
          </a:stretch>
        </p:blipFill>
        <p:spPr>
          <a:xfrm>
            <a:off x="2600528" y="923497"/>
            <a:ext cx="3743325" cy="3668757"/>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0065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clrChange>
              <a:clrFrom>
                <a:srgbClr val="FFFFFF"/>
              </a:clrFrom>
              <a:clrTo>
                <a:srgbClr val="FFFFFF">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05325" y="698983"/>
            <a:ext cx="5424375" cy="4068281"/>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2137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vmlDrawing" Target="../drawings/vmlDrawing1.vml"/><Relationship Id="rId2" Type="http://schemas.openxmlformats.org/officeDocument/2006/relationships/slideLayout" Target="../slideLayouts/slideLayout20.xml"/><Relationship Id="rId16" Type="http://schemas.openxmlformats.org/officeDocument/2006/relationships/image" Target="../media/image2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image" Target="../media/image20.emf"/><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oleObject" Target="../embeddings/oleObject2.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vmlDrawing" Target="../drawings/vmlDrawing2.vml"/><Relationship Id="rId5" Type="http://schemas.openxmlformats.org/officeDocument/2006/relationships/slideLayout" Target="../slideLayouts/slideLayout33.xml"/><Relationship Id="rId15" Type="http://schemas.openxmlformats.org/officeDocument/2006/relationships/image" Target="../media/image21.png"/><Relationship Id="rId10"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vmlDrawing" Target="../drawings/vmlDrawing3.vml"/><Relationship Id="rId2" Type="http://schemas.openxmlformats.org/officeDocument/2006/relationships/slideLayout" Target="../slideLayouts/slideLayout39.xml"/><Relationship Id="rId16" Type="http://schemas.openxmlformats.org/officeDocument/2006/relationships/image" Target="../media/image21.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4.xml"/><Relationship Id="rId5" Type="http://schemas.openxmlformats.org/officeDocument/2006/relationships/slideLayout" Target="../slideLayouts/slideLayout42.xml"/><Relationship Id="rId15" Type="http://schemas.openxmlformats.org/officeDocument/2006/relationships/image" Target="../media/image20.emf"/><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oleObject" Target="../embeddings/oleObject4.bin"/><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ags" Target="../tags/tag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vmlDrawing" Target="../drawings/vmlDrawing4.vml"/><Relationship Id="rId5" Type="http://schemas.openxmlformats.org/officeDocument/2006/relationships/slideLayout" Target="../slideLayouts/slideLayout52.xml"/><Relationship Id="rId15" Type="http://schemas.openxmlformats.org/officeDocument/2006/relationships/image" Target="../media/image21.png"/><Relationship Id="rId10" Type="http://schemas.openxmlformats.org/officeDocument/2006/relationships/theme" Target="../theme/theme5.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2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cstate="print">
            <a:lum/>
          </a:blip>
          <a:srcRect/>
          <a:stretch>
            <a:fillRect/>
          </a:stretch>
        </a:blipFill>
        <a:effectLst/>
      </p:bgPr>
    </p:bg>
    <p:spTree>
      <p:nvGrpSpPr>
        <p:cNvPr id="1" name=""/>
        <p:cNvGrpSpPr/>
        <p:nvPr/>
      </p:nvGrpSpPr>
      <p:grpSpPr>
        <a:xfrm>
          <a:off x="0" y="0"/>
          <a:ext cx="0" cy="0"/>
          <a:chOff x="0" y="0"/>
          <a:chExt cx="0" cy="0"/>
        </a:xfrm>
      </p:grpSpPr>
      <p:sp>
        <p:nvSpPr>
          <p:cNvPr id="8"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ww.edureka.co/angular-js</a:t>
            </a:r>
          </a:p>
        </p:txBody>
      </p:sp>
      <p:sp>
        <p:nvSpPr>
          <p:cNvPr id="6" name="Title Placeholder 5"/>
          <p:cNvSpPr>
            <a:spLocks noGrp="1"/>
          </p:cNvSpPr>
          <p:nvPr>
            <p:ph type="title"/>
          </p:nvPr>
        </p:nvSpPr>
        <p:spPr>
          <a:xfrm>
            <a:off x="477296" y="90432"/>
            <a:ext cx="7886700" cy="647805"/>
          </a:xfrm>
          <a:prstGeom prst="rect">
            <a:avLst/>
          </a:prstGeom>
        </p:spPr>
        <p:txBody>
          <a:bodyPr vert="horz" lIns="91440" tIns="45720" rIns="91440" bIns="45720" rtlCol="0" anchor="ctr">
            <a:noAutofit/>
          </a:bodyPr>
          <a:lstStyle/>
          <a:p>
            <a:r>
              <a:rPr lang="en-US" smtClean="0"/>
              <a:t>Click to edit Master title style</a:t>
            </a:r>
            <a:endParaRPr lang="en-US"/>
          </a:p>
        </p:txBody>
      </p:sp>
      <p:sp>
        <p:nvSpPr>
          <p:cNvPr id="7" name="Text Placeholder 6"/>
          <p:cNvSpPr>
            <a:spLocks noGrp="1"/>
          </p:cNvSpPr>
          <p:nvPr>
            <p:ph type="body" idx="1"/>
          </p:nvPr>
        </p:nvSpPr>
        <p:spPr>
          <a:xfrm>
            <a:off x="457200" y="868136"/>
            <a:ext cx="7886700" cy="392770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7832687"/>
      </p:ext>
    </p:extLst>
  </p:cSld>
  <p:clrMap bg1="lt1" tx1="dk1" bg2="lt2" tx2="dk2" accent1="accent1" accent2="accent2" accent3="accent3" accent4="accent4" accent5="accent5" accent6="accent6" hlink="hlink" folHlink="folHlink"/>
  <p:sldLayoutIdLst>
    <p:sldLayoutId id="2147483662" r:id="rId1"/>
    <p:sldLayoutId id="2147483669" r:id="rId2"/>
    <p:sldLayoutId id="2147483678" r:id="rId3"/>
    <p:sldLayoutId id="2147483663" r:id="rId4"/>
    <p:sldLayoutId id="2147483670" r:id="rId5"/>
    <p:sldLayoutId id="2147483674" r:id="rId6"/>
    <p:sldLayoutId id="2147483672" r:id="rId7"/>
    <p:sldLayoutId id="2147483675" r:id="rId8"/>
    <p:sldLayoutId id="2147483673" r:id="rId9"/>
    <p:sldLayoutId id="2147483671" r:id="rId10"/>
    <p:sldLayoutId id="2147483676" r:id="rId11"/>
    <p:sldLayoutId id="2147483679" r:id="rId12"/>
    <p:sldLayoutId id="2147483680" r:id="rId13"/>
    <p:sldLayoutId id="2147483677" r:id="rId14"/>
    <p:sldLayoutId id="2147483667" r:id="rId15"/>
    <p:sldLayoutId id="2147483668" r:id="rId16"/>
    <p:sldLayoutId id="2147483682" r:id="rId17"/>
    <p:sldLayoutId id="2147483683" r:id="rId18"/>
  </p:sldLayoutIdLst>
  <p:timing>
    <p:tnLst>
      <p:par>
        <p:cTn id="1" dur="indefinite" restart="never" nodeType="tmRoot"/>
      </p:par>
    </p:tnLst>
  </p:timing>
  <p:txStyles>
    <p:titleStyle>
      <a:lvl1pPr algn="l" defTabSz="914378" rtl="0" eaLnBrk="1" latinLnBrk="0" hangingPunct="1">
        <a:spcBef>
          <a:spcPct val="0"/>
        </a:spcBef>
        <a:buNone/>
        <a:defRPr lang="en-US" sz="2600" b="0" kern="1200" dirty="0">
          <a:solidFill>
            <a:schemeClr val="tx1"/>
          </a:solidFill>
          <a:latin typeface="+mj-lt"/>
          <a:ea typeface="+mj-ea"/>
          <a:cs typeface="+mj-cs"/>
        </a:defRPr>
      </a:lvl1pPr>
    </p:titleStyle>
    <p:body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40" userDrawn="1">
          <p15:clr>
            <a:srgbClr val="F26B43"/>
          </p15:clr>
        </p15:guide>
        <p15:guide id="2"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63359886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85356668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12717699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8"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23054786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edureka.co/angular-js"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7.xml"/><Relationship Id="rId5" Type="http://schemas.openxmlformats.org/officeDocument/2006/relationships/image" Target="../media/image39.PN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17.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7.xml"/><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1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0.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7.xml"/><Relationship Id="rId4" Type="http://schemas.openxmlformats.org/officeDocument/2006/relationships/image" Target="../media/image31.jpeg"/></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7.xml"/><Relationship Id="rId5" Type="http://schemas.openxmlformats.org/officeDocument/2006/relationships/image" Target="../media/image32.jpeg"/><Relationship Id="rId4" Type="http://schemas.openxmlformats.org/officeDocument/2006/relationships/image" Target="../media/image31.jpeg"/></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7.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71417" y="3104893"/>
            <a:ext cx="7620000" cy="523220"/>
          </a:xfrm>
          <a:prstGeom prst="rect">
            <a:avLst/>
          </a:prstGeom>
        </p:spPr>
        <p:txBody>
          <a:bodyPr wrap="square">
            <a:spAutoFit/>
          </a:bodyPr>
          <a:lstStyle/>
          <a:p>
            <a:pPr algn="ctr"/>
            <a:r>
              <a:rPr lang="en-US" sz="1400" dirty="0">
                <a:latin typeface="Tahoma" pitchFamily="34" charset="0"/>
                <a:ea typeface="Tahoma" pitchFamily="34" charset="0"/>
                <a:cs typeface="Tahoma" pitchFamily="34" charset="0"/>
              </a:rPr>
              <a:t>View </a:t>
            </a:r>
            <a:r>
              <a:rPr lang="en-US" sz="1400" dirty="0" smtClean="0">
                <a:latin typeface="Tahoma" pitchFamily="34" charset="0"/>
                <a:ea typeface="Tahoma" pitchFamily="34" charset="0"/>
                <a:cs typeface="Tahoma" pitchFamily="34" charset="0"/>
              </a:rPr>
              <a:t>AngularJS course details at </a:t>
            </a:r>
            <a:r>
              <a:rPr lang="en-US" sz="1400" dirty="0" smtClean="0">
                <a:solidFill>
                  <a:srgbClr val="0070C0"/>
                </a:solidFill>
                <a:latin typeface="Tahoma" pitchFamily="34" charset="0"/>
                <a:ea typeface="Tahoma" pitchFamily="34" charset="0"/>
                <a:cs typeface="Tahoma" pitchFamily="34" charset="0"/>
                <a:hlinkClick r:id="rId2"/>
              </a:rPr>
              <a:t>www.edureka.co/angular-js</a:t>
            </a:r>
            <a:endParaRPr lang="en-US" sz="1400" dirty="0" smtClean="0">
              <a:solidFill>
                <a:srgbClr val="0070C0"/>
              </a:solidFill>
              <a:latin typeface="Tahoma" pitchFamily="34" charset="0"/>
              <a:ea typeface="Tahoma" pitchFamily="34" charset="0"/>
              <a:cs typeface="Tahoma" pitchFamily="34" charset="0"/>
            </a:endParaRPr>
          </a:p>
          <a:p>
            <a:pPr algn="ctr"/>
            <a:endParaRPr lang="en-US" sz="1400" dirty="0" smtClean="0">
              <a:latin typeface="Tahoma" pitchFamily="34" charset="0"/>
              <a:ea typeface="Tahoma" pitchFamily="34" charset="0"/>
              <a:cs typeface="Tahoma" pitchFamily="34" charset="0"/>
            </a:endParaRPr>
          </a:p>
        </p:txBody>
      </p:sp>
      <p:sp>
        <p:nvSpPr>
          <p:cNvPr id="6" name="TextBox 5"/>
          <p:cNvSpPr txBox="1"/>
          <p:nvPr/>
        </p:nvSpPr>
        <p:spPr>
          <a:xfrm>
            <a:off x="76200" y="3520392"/>
            <a:ext cx="5029200" cy="646331"/>
          </a:xfrm>
          <a:prstGeom prst="rect">
            <a:avLst/>
          </a:prstGeom>
          <a:noFill/>
        </p:spPr>
        <p:txBody>
          <a:bodyPr wrap="square" rtlCol="0">
            <a:spAutoFit/>
          </a:bodyPr>
          <a:lstStyle/>
          <a:p>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For Queries :</a:t>
            </a:r>
          </a:p>
          <a:p>
            <a:pPr lvl="1"/>
            <a:r>
              <a:rPr lang="en-US" sz="1200" dirty="0" smtClean="0">
                <a:latin typeface="Tahoma" panose="020B0604030504040204" pitchFamily="34" charset="0"/>
                <a:ea typeface="Tahoma" panose="020B0604030504040204" pitchFamily="34" charset="0"/>
                <a:cs typeface="Tahoma" panose="020B0604030504040204" pitchFamily="34" charset="0"/>
              </a:rPr>
              <a:t>Post on Twitter @edurekaIN: </a:t>
            </a:r>
            <a:r>
              <a:rPr lang="en-US" sz="1200" dirty="0" smtClean="0">
                <a:solidFill>
                  <a:srgbClr val="00B0F0"/>
                </a:solidFill>
                <a:latin typeface="Tahoma" panose="020B0604030504040204" pitchFamily="34" charset="0"/>
                <a:ea typeface="Tahoma" panose="020B0604030504040204" pitchFamily="34" charset="0"/>
                <a:cs typeface="Tahoma" panose="020B0604030504040204" pitchFamily="34" charset="0"/>
              </a:rPr>
              <a:t>#askEdureka</a:t>
            </a:r>
            <a:endParaRPr lang="en-US" sz="1200" dirty="0">
              <a:solidFill>
                <a:srgbClr val="00B0F0"/>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smtClean="0">
                <a:latin typeface="Tahoma" panose="020B0604030504040204" pitchFamily="34" charset="0"/>
                <a:ea typeface="Tahoma" panose="020B0604030504040204" pitchFamily="34" charset="0"/>
                <a:cs typeface="Tahoma" panose="020B0604030504040204" pitchFamily="34" charset="0"/>
              </a:rPr>
              <a:t>Post on Facebook </a:t>
            </a:r>
            <a:r>
              <a:rPr lang="en-US" sz="1200" dirty="0">
                <a:solidFill>
                  <a:srgbClr val="00B0F0"/>
                </a:solidFill>
                <a:latin typeface="Tahoma" panose="020B0604030504040204" pitchFamily="34" charset="0"/>
                <a:ea typeface="Tahoma" panose="020B0604030504040204" pitchFamily="34" charset="0"/>
                <a:cs typeface="Tahoma" panose="020B0604030504040204" pitchFamily="34" charset="0"/>
              </a:rPr>
              <a:t>/edurekaIN</a:t>
            </a:r>
          </a:p>
        </p:txBody>
      </p:sp>
      <p:sp>
        <p:nvSpPr>
          <p:cNvPr id="7" name="TextBox 6"/>
          <p:cNvSpPr txBox="1"/>
          <p:nvPr/>
        </p:nvSpPr>
        <p:spPr>
          <a:xfrm>
            <a:off x="6467518" y="3520525"/>
            <a:ext cx="2619118" cy="830997"/>
          </a:xfrm>
          <a:prstGeom prst="rect">
            <a:avLst/>
          </a:prstGeom>
          <a:noFill/>
        </p:spPr>
        <p:txBody>
          <a:bodyPr wrap="square" rtlCol="0">
            <a:spAutoFit/>
          </a:bodyPr>
          <a:lstStyle/>
          <a:p>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For more details please contact us: </a:t>
            </a:r>
          </a:p>
          <a:p>
            <a:r>
              <a:rPr lang="en-IN" sz="1200" dirty="0" smtClean="0">
                <a:latin typeface="Tahoma" panose="020B0604030504040204" pitchFamily="34" charset="0"/>
                <a:ea typeface="Tahoma" panose="020B0604030504040204" pitchFamily="34" charset="0"/>
                <a:cs typeface="Tahoma" panose="020B0604030504040204" pitchFamily="34" charset="0"/>
              </a:rPr>
              <a:t>US : 1800 275 9730 (toll free)</a:t>
            </a:r>
          </a:p>
          <a:p>
            <a:r>
              <a:rPr lang="en-IN" sz="1200" dirty="0" smtClean="0">
                <a:latin typeface="Tahoma" panose="020B0604030504040204" pitchFamily="34" charset="0"/>
                <a:ea typeface="Tahoma" panose="020B0604030504040204" pitchFamily="34" charset="0"/>
                <a:cs typeface="Tahoma" panose="020B0604030504040204" pitchFamily="34" charset="0"/>
              </a:rPr>
              <a:t>INDIA </a:t>
            </a:r>
            <a:r>
              <a:rPr lang="en-IN" sz="1200" dirty="0">
                <a:latin typeface="Tahoma" panose="020B0604030504040204" pitchFamily="34" charset="0"/>
                <a:ea typeface="Tahoma" panose="020B0604030504040204" pitchFamily="34" charset="0"/>
                <a:cs typeface="Tahoma" panose="020B0604030504040204" pitchFamily="34" charset="0"/>
              </a:rPr>
              <a:t>: +91 88808 62004</a:t>
            </a:r>
          </a:p>
          <a:p>
            <a:r>
              <a:rPr lang="en-IN" sz="1200" dirty="0">
                <a:latin typeface="Tahoma" panose="020B0604030504040204" pitchFamily="34" charset="0"/>
                <a:ea typeface="Tahoma" panose="020B0604030504040204" pitchFamily="34" charset="0"/>
                <a:cs typeface="Tahoma" panose="020B0604030504040204" pitchFamily="34" charset="0"/>
              </a:rPr>
              <a:t>Email </a:t>
            </a:r>
            <a:r>
              <a:rPr lang="en-IN" sz="1200" dirty="0" smtClean="0">
                <a:latin typeface="Tahoma" panose="020B0604030504040204" pitchFamily="34" charset="0"/>
                <a:ea typeface="Tahoma" panose="020B0604030504040204" pitchFamily="34" charset="0"/>
                <a:cs typeface="Tahoma" panose="020B0604030504040204" pitchFamily="34" charset="0"/>
              </a:rPr>
              <a:t>us : </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ebinars@edureka.co</a:t>
            </a:r>
          </a:p>
        </p:txBody>
      </p:sp>
      <p:sp>
        <p:nvSpPr>
          <p:cNvPr id="8" name="TextBox 7"/>
          <p:cNvSpPr txBox="1"/>
          <p:nvPr/>
        </p:nvSpPr>
        <p:spPr>
          <a:xfrm>
            <a:off x="627272" y="2666446"/>
            <a:ext cx="7908291" cy="369332"/>
          </a:xfrm>
          <a:prstGeom prst="rect">
            <a:avLst/>
          </a:prstGeom>
          <a:noFill/>
        </p:spPr>
        <p:txBody>
          <a:bodyPr wrap="square" rtlCol="0">
            <a:spAutoFit/>
          </a:bodyPr>
          <a:lstStyle/>
          <a:p>
            <a:pPr algn="ctr"/>
            <a:r>
              <a:rPr lang="en-IN" sz="1800" b="1" dirty="0">
                <a:latin typeface="Castellar" panose="020A0402060406010301" pitchFamily="18" charset="0"/>
              </a:rPr>
              <a:t>AngularJS : </a:t>
            </a:r>
            <a:r>
              <a:rPr lang="en-IN" sz="1800" b="1" dirty="0" err="1">
                <a:latin typeface="Castellar" panose="020A0402060406010301" pitchFamily="18" charset="0"/>
              </a:rPr>
              <a:t>Superheroic</a:t>
            </a:r>
            <a:r>
              <a:rPr lang="en-IN" sz="1800" b="1" dirty="0">
                <a:latin typeface="Castellar" panose="020A0402060406010301" pitchFamily="18" charset="0"/>
              </a:rPr>
              <a:t> JavaScript MVW Framework</a:t>
            </a:r>
          </a:p>
        </p:txBody>
      </p:sp>
    </p:spTree>
    <p:extLst>
      <p:ext uri="{BB962C8B-B14F-4D97-AF65-F5344CB8AC3E}">
        <p14:creationId xmlns:p14="http://schemas.microsoft.com/office/powerpoint/2010/main" val="1445930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What is AngularJS?</a:t>
            </a:r>
            <a:endParaRPr lang="en-US"/>
          </a:p>
        </p:txBody>
      </p:sp>
      <p:sp>
        <p:nvSpPr>
          <p:cNvPr id="18" name="Content Placeholder 2"/>
          <p:cNvSpPr txBox="1">
            <a:spLocks/>
          </p:cNvSpPr>
          <p:nvPr/>
        </p:nvSpPr>
        <p:spPr>
          <a:xfrm>
            <a:off x="447478" y="2198450"/>
            <a:ext cx="4134255" cy="3716067"/>
          </a:xfrm>
          <a:prstGeom prst="rect">
            <a:avLst/>
          </a:prstGeom>
        </p:spPr>
        <p:txBody>
          <a:bodyPr/>
          <a:lst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smtClean="0"/>
              <a:t>OpenSource</a:t>
            </a:r>
            <a:r>
              <a:rPr lang="en-US" dirty="0" smtClean="0"/>
              <a:t> client side JavaScript framework created by</a:t>
            </a:r>
            <a:r>
              <a:rPr lang="en-US" dirty="0" smtClean="0">
                <a:solidFill>
                  <a:srgbClr val="262626"/>
                </a:solidFill>
              </a:rPr>
              <a:t> </a:t>
            </a:r>
            <a:r>
              <a:rPr lang="en-US" dirty="0" smtClean="0">
                <a:solidFill>
                  <a:srgbClr val="0070C0"/>
                </a:solidFill>
              </a:rPr>
              <a:t>Google</a:t>
            </a:r>
          </a:p>
          <a:p>
            <a:r>
              <a:rPr lang="en-US" dirty="0" smtClean="0"/>
              <a:t>Designed for web developers and designers, who need to have </a:t>
            </a:r>
            <a:r>
              <a:rPr lang="en-US" dirty="0" smtClean="0">
                <a:solidFill>
                  <a:srgbClr val="0070C0"/>
                </a:solidFill>
              </a:rPr>
              <a:t>more</a:t>
            </a:r>
            <a:r>
              <a:rPr lang="en-US" dirty="0" smtClean="0"/>
              <a:t> </a:t>
            </a:r>
            <a:r>
              <a:rPr lang="en-US" dirty="0" smtClean="0">
                <a:solidFill>
                  <a:srgbClr val="0070C0"/>
                </a:solidFill>
              </a:rPr>
              <a:t>control</a:t>
            </a:r>
            <a:r>
              <a:rPr lang="en-US" dirty="0" smtClean="0"/>
              <a:t> over their web Applications</a:t>
            </a:r>
          </a:p>
          <a:p>
            <a:r>
              <a:rPr lang="en-US" dirty="0" smtClean="0"/>
              <a:t>AngularJS accomplishes a lot by embracing </a:t>
            </a:r>
            <a:r>
              <a:rPr lang="en-US" dirty="0" smtClean="0">
                <a:solidFill>
                  <a:srgbClr val="0070C0"/>
                </a:solidFill>
              </a:rPr>
              <a:t>HTML</a:t>
            </a:r>
            <a:r>
              <a:rPr lang="en-US" dirty="0" smtClean="0"/>
              <a:t>, </a:t>
            </a:r>
            <a:r>
              <a:rPr lang="en-US" dirty="0" smtClean="0">
                <a:solidFill>
                  <a:srgbClr val="0070C0"/>
                </a:solidFill>
              </a:rPr>
              <a:t>JavaScript</a:t>
            </a:r>
            <a:r>
              <a:rPr lang="en-US" dirty="0" smtClean="0"/>
              <a:t> and </a:t>
            </a:r>
            <a:r>
              <a:rPr lang="en-US" dirty="0" smtClean="0">
                <a:solidFill>
                  <a:srgbClr val="0070C0"/>
                </a:solidFill>
              </a:rPr>
              <a:t>CSS</a:t>
            </a:r>
            <a:endParaRPr lang="en-US" dirty="0">
              <a:solidFill>
                <a:srgbClr val="0070C0"/>
              </a:solidFill>
            </a:endParaRPr>
          </a:p>
        </p:txBody>
      </p:sp>
      <p:pic>
        <p:nvPicPr>
          <p:cNvPr id="19" name="Picture 2" descr="http://i.ytimg.com/vi/4EVBg1pNdtc/maxresdefaul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62276" y="1443592"/>
            <a:ext cx="4117975" cy="2316361"/>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583671" y="1074260"/>
            <a:ext cx="3836975" cy="646331"/>
          </a:xfrm>
          <a:prstGeom prst="rect">
            <a:avLst/>
          </a:prstGeom>
          <a:noFill/>
        </p:spPr>
        <p:txBody>
          <a:bodyPr wrap="square" rtlCol="0">
            <a:spAutoFit/>
          </a:bodyPr>
          <a:lstStyle/>
          <a:p>
            <a:pPr algn="ctr"/>
            <a:r>
              <a:rPr lang="en-US" sz="12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ngularJS was originally developed in 2009 by </a:t>
            </a:r>
            <a:r>
              <a:rPr lang="en-US" sz="1200" b="1"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Misko</a:t>
            </a:r>
            <a:r>
              <a:rPr lang="en-US" sz="12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b="1"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Hevery</a:t>
            </a:r>
            <a:r>
              <a:rPr lang="en-US" sz="12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nd </a:t>
            </a:r>
            <a:r>
              <a:rPr lang="en-US" sz="12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dam </a:t>
            </a:r>
            <a:r>
              <a:rPr lang="en-US" sz="1200" b="1"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brons</a:t>
            </a:r>
            <a:r>
              <a:rPr lang="en-US" sz="12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t Brat Tech LLC, firstly named as </a:t>
            </a:r>
            <a:r>
              <a:rPr lang="en-US" sz="1200"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GetAngular</a:t>
            </a:r>
            <a:endParaRPr lang="en-US" sz="12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28824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loud Callout 5"/>
          <p:cNvSpPr/>
          <p:nvPr/>
        </p:nvSpPr>
        <p:spPr>
          <a:xfrm>
            <a:off x="5262663" y="735017"/>
            <a:ext cx="3346316" cy="2717363"/>
          </a:xfrm>
          <a:prstGeom prst="cloudCallout">
            <a:avLst>
              <a:gd name="adj1" fmla="val -78432"/>
              <a:gd name="adj2" fmla="val 18296"/>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US" sz="1100" dirty="0" smtClean="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 </a:t>
            </a:r>
            <a:r>
              <a:rPr lang="en-US" sz="11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better way to think about angular is </a:t>
            </a:r>
            <a:r>
              <a:rPr lang="en-US" sz="1100" b="1" u="sng" dirty="0">
                <a:solidFill>
                  <a:srgbClr val="C00000"/>
                </a:solidFill>
                <a:latin typeface="Tahoma" panose="020B0604030504040204" pitchFamily="34" charset="0"/>
                <a:ea typeface="Tahoma" panose="020B0604030504040204" pitchFamily="34" charset="0"/>
                <a:cs typeface="Tahoma" panose="020B0604030504040204" pitchFamily="34" charset="0"/>
              </a:rPr>
              <a:t>not</a:t>
            </a:r>
            <a:r>
              <a:rPr lang="en-US" sz="1100" dirty="0">
                <a:solidFill>
                  <a:srgbClr val="C00000"/>
                </a:solidFill>
                <a:latin typeface="Tahoma" panose="020B0604030504040204" pitchFamily="34" charset="0"/>
                <a:ea typeface="Tahoma" panose="020B0604030504040204" pitchFamily="34" charset="0"/>
                <a:cs typeface="Tahoma" panose="020B0604030504040204" pitchFamily="34" charset="0"/>
              </a:rPr>
              <a:t> </a:t>
            </a:r>
            <a:r>
              <a:rPr lang="en-US" sz="11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o think about it as framework but as HTML compiler which allows you to create your OWN DSL in HTML, by attaching your own behavior to any HTML element, attribute or text. And by any I mean that you can make up your own </a:t>
            </a:r>
            <a:r>
              <a:rPr lang="en-US" sz="1100" dirty="0" smtClean="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ames</a:t>
            </a:r>
            <a:endParaRPr lang="en-US" sz="1100"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7" name="Picture 6"/>
          <p:cNvPicPr>
            <a:picLocks noChangeAspect="1"/>
          </p:cNvPicPr>
          <p:nvPr/>
        </p:nvPicPr>
        <p:blipFill>
          <a:blip r:embed="rId2"/>
          <a:stretch>
            <a:fillRect/>
          </a:stretch>
        </p:blipFill>
        <p:spPr>
          <a:xfrm>
            <a:off x="1653353" y="2870577"/>
            <a:ext cx="2510085" cy="1678968"/>
          </a:xfrm>
          <a:prstGeom prst="rect">
            <a:avLst/>
          </a:prstGeom>
        </p:spPr>
      </p:pic>
      <p:sp>
        <p:nvSpPr>
          <p:cNvPr id="8" name="Rectangle 7"/>
          <p:cNvSpPr/>
          <p:nvPr/>
        </p:nvSpPr>
        <p:spPr>
          <a:xfrm>
            <a:off x="2181273" y="2460619"/>
            <a:ext cx="1454244" cy="307777"/>
          </a:xfrm>
          <a:prstGeom prst="rect">
            <a:avLst/>
          </a:prstGeom>
        </p:spPr>
        <p:txBody>
          <a:bodyPr wrap="none">
            <a:spAutoFit/>
          </a:bodyPr>
          <a:lstStyle/>
          <a:p>
            <a:r>
              <a:rPr lang="en-US" sz="1400" b="1" dirty="0" err="1" smtClean="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Misko</a:t>
            </a:r>
            <a:r>
              <a:rPr lang="en-US" sz="1400" b="1" dirty="0" smtClean="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Hevery</a:t>
            </a:r>
            <a:r>
              <a:rPr lang="en-US" sz="1400" b="1"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9"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What is AngularJS according to Misko Hevery ?</a:t>
            </a:r>
            <a:endParaRPr lang="en-US"/>
          </a:p>
        </p:txBody>
      </p:sp>
    </p:spTree>
    <p:extLst>
      <p:ext uri="{BB962C8B-B14F-4D97-AF65-F5344CB8AC3E}">
        <p14:creationId xmlns:p14="http://schemas.microsoft.com/office/powerpoint/2010/main" val="4127436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Big Brands Using AngularJS</a:t>
            </a:r>
            <a:endParaRPr lang="en-US"/>
          </a:p>
        </p:txBody>
      </p:sp>
      <p:pic>
        <p:nvPicPr>
          <p:cNvPr id="11" name="Picture 10"/>
          <p:cNvPicPr>
            <a:picLocks noChangeAspect="1"/>
          </p:cNvPicPr>
          <p:nvPr/>
        </p:nvPicPr>
        <p:blipFill>
          <a:blip r:embed="rId2"/>
          <a:stretch>
            <a:fillRect/>
          </a:stretch>
        </p:blipFill>
        <p:spPr>
          <a:xfrm>
            <a:off x="5712087" y="1055947"/>
            <a:ext cx="2213510" cy="823510"/>
          </a:xfrm>
          <a:prstGeom prst="rect">
            <a:avLst/>
          </a:prstGeom>
        </p:spPr>
      </p:pic>
      <p:pic>
        <p:nvPicPr>
          <p:cNvPr id="12" name="Picture 4" descr="http://search.gigaom.com/wp-content/uploads/sites/3/2012/06/Netfli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5583" y="3216540"/>
            <a:ext cx="2177794" cy="591951"/>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p:nvGrpSpPr>
        <p:grpSpPr>
          <a:xfrm>
            <a:off x="663744" y="810971"/>
            <a:ext cx="3182603" cy="1706509"/>
            <a:chOff x="663744" y="810971"/>
            <a:chExt cx="3182603" cy="1706509"/>
          </a:xfrm>
        </p:grpSpPr>
        <p:pic>
          <p:nvPicPr>
            <p:cNvPr id="14" name="Picture 13"/>
            <p:cNvPicPr>
              <a:picLocks noChangeAspect="1"/>
            </p:cNvPicPr>
            <p:nvPr/>
          </p:nvPicPr>
          <p:blipFill>
            <a:blip r:embed="rId4"/>
            <a:stretch>
              <a:fillRect/>
            </a:stretch>
          </p:blipFill>
          <p:spPr>
            <a:xfrm>
              <a:off x="838959" y="810971"/>
              <a:ext cx="2832174" cy="1434242"/>
            </a:xfrm>
            <a:prstGeom prst="rect">
              <a:avLst/>
            </a:prstGeom>
          </p:spPr>
        </p:pic>
        <p:sp>
          <p:nvSpPr>
            <p:cNvPr id="15" name="TextBox 14"/>
            <p:cNvSpPr txBox="1"/>
            <p:nvPr/>
          </p:nvSpPr>
          <p:spPr>
            <a:xfrm>
              <a:off x="663744" y="2240481"/>
              <a:ext cx="3182603" cy="276999"/>
            </a:xfrm>
            <a:prstGeom prst="rect">
              <a:avLst/>
            </a:prstGeom>
            <a:noFill/>
          </p:spPr>
          <p:txBody>
            <a:bodyPr wrap="none" rtlCol="0">
              <a:spAutoFit/>
            </a:bodyPr>
            <a:lstStyle/>
            <a:p>
              <a:pPr algn="ct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YouTube application for Sony's PlayStation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3</a:t>
              </a:r>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gr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61114" y="2227438"/>
            <a:ext cx="4115455" cy="2472403"/>
          </a:xfrm>
          <a:prstGeom prst="rect">
            <a:avLst/>
          </a:prstGeom>
        </p:spPr>
      </p:pic>
    </p:spTree>
    <p:extLst>
      <p:ext uri="{BB962C8B-B14F-4D97-AF65-F5344CB8AC3E}">
        <p14:creationId xmlns:p14="http://schemas.microsoft.com/office/powerpoint/2010/main" val="3455745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Big Brands Using AngularJS</a:t>
            </a:r>
            <a:endParaRPr lang="en-US"/>
          </a:p>
        </p:txBody>
      </p:sp>
      <p:pic>
        <p:nvPicPr>
          <p:cNvPr id="3" name="Picture 2" descr="http://3.bp.blogspot.com/-Sff89YZ1Kq0/T-dvh03TsnI/AAAAAAAAADo/ZOnhfHNRUXM/s1600/Freelancer-copy.com_logo_color_on_whit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4680" y="786741"/>
            <a:ext cx="4268121" cy="8934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http://www.thepowderstash.com/images/Weather.com.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3254" y="1738901"/>
            <a:ext cx="2765348" cy="203668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stretch>
            <a:fillRect/>
          </a:stretch>
        </p:blipFill>
        <p:spPr>
          <a:xfrm>
            <a:off x="807396" y="1789681"/>
            <a:ext cx="5210512" cy="3216618"/>
          </a:xfrm>
          <a:prstGeom prst="rect">
            <a:avLst/>
          </a:prstGeom>
        </p:spPr>
      </p:pic>
    </p:spTree>
    <p:extLst>
      <p:ext uri="{BB962C8B-B14F-4D97-AF65-F5344CB8AC3E}">
        <p14:creationId xmlns:p14="http://schemas.microsoft.com/office/powerpoint/2010/main" val="3529090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Elbow Connector 1"/>
          <p:cNvCxnSpPr>
            <a:stCxn id="4" idx="2"/>
            <a:endCxn id="8" idx="1"/>
          </p:cNvCxnSpPr>
          <p:nvPr/>
        </p:nvCxnSpPr>
        <p:spPr>
          <a:xfrm rot="16200000" flipH="1">
            <a:off x="4237169" y="3253992"/>
            <a:ext cx="624795" cy="1178616"/>
          </a:xfrm>
          <a:prstGeom prst="bentConnector2">
            <a:avLst/>
          </a:prstGeom>
          <a:ln w="15875"/>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890869" y="914401"/>
            <a:ext cx="2745291" cy="2616502"/>
            <a:chOff x="2920053" y="1332691"/>
            <a:chExt cx="2255507" cy="2198211"/>
          </a:xfrm>
        </p:grpSpPr>
        <p:sp>
          <p:nvSpPr>
            <p:cNvPr id="4" name="Rounded Rectangle 3"/>
            <p:cNvSpPr/>
            <p:nvPr/>
          </p:nvSpPr>
          <p:spPr>
            <a:xfrm>
              <a:off x="2957211" y="3038034"/>
              <a:ext cx="1682885" cy="492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smtClean="0"/>
                <a:t>SPA</a:t>
              </a:r>
              <a:endParaRPr lang="en-US" b="1"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93976" y="1332691"/>
              <a:ext cx="1781584" cy="1781584"/>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0053" y="2416550"/>
              <a:ext cx="659728" cy="658813"/>
            </a:xfrm>
            <a:prstGeom prst="rect">
              <a:avLst/>
            </a:prstGeom>
          </p:spPr>
        </p:pic>
      </p:grpSp>
      <p:grpSp>
        <p:nvGrpSpPr>
          <p:cNvPr id="7" name="Group 6"/>
          <p:cNvGrpSpPr/>
          <p:nvPr/>
        </p:nvGrpSpPr>
        <p:grpSpPr>
          <a:xfrm>
            <a:off x="5138874" y="4066163"/>
            <a:ext cx="2555707" cy="505843"/>
            <a:chOff x="3611629" y="3289575"/>
            <a:chExt cx="3927308" cy="1438072"/>
          </a:xfrm>
        </p:grpSpPr>
        <p:sp>
          <p:nvSpPr>
            <p:cNvPr id="8" name="Rounded Rectangle 7"/>
            <p:cNvSpPr/>
            <p:nvPr/>
          </p:nvSpPr>
          <p:spPr>
            <a:xfrm>
              <a:off x="3611629" y="3289575"/>
              <a:ext cx="1618034" cy="50908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smtClean="0"/>
                <a:t>AngularJS</a:t>
              </a:r>
              <a:endParaRPr lang="en-US" sz="900" dirty="0"/>
            </a:p>
          </p:txBody>
        </p:sp>
        <p:cxnSp>
          <p:nvCxnSpPr>
            <p:cNvPr id="9" name="Elbow Connector 8"/>
            <p:cNvCxnSpPr>
              <a:stCxn id="8" idx="2"/>
              <a:endCxn id="10" idx="1"/>
            </p:cNvCxnSpPr>
            <p:nvPr/>
          </p:nvCxnSpPr>
          <p:spPr>
            <a:xfrm rot="16200000" flipH="1">
              <a:off x="4793827" y="3425474"/>
              <a:ext cx="672830" cy="1419193"/>
            </a:xfrm>
            <a:prstGeom prst="bentConnector2">
              <a:avLst/>
            </a:prstGeom>
            <a:ln w="15875"/>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5839839" y="4215324"/>
              <a:ext cx="1699098" cy="51232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900" dirty="0" err="1" smtClean="0"/>
                <a:t>TakeAway</a:t>
              </a:r>
              <a:endParaRPr lang="en-US" sz="800" dirty="0"/>
            </a:p>
          </p:txBody>
        </p:sp>
      </p:grpSp>
      <p:sp>
        <p:nvSpPr>
          <p:cNvPr id="11"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Let us see what is Single Page Application first </a:t>
            </a:r>
            <a:endParaRPr lang="en-US" dirty="0"/>
          </a:p>
        </p:txBody>
      </p:sp>
    </p:spTree>
    <p:extLst>
      <p:ext uri="{BB962C8B-B14F-4D97-AF65-F5344CB8AC3E}">
        <p14:creationId xmlns:p14="http://schemas.microsoft.com/office/powerpoint/2010/main" val="2685216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SINGLE PAGE APPLICATION</a:t>
            </a:r>
            <a:endParaRPr lang="en-US"/>
          </a:p>
        </p:txBody>
      </p:sp>
      <p:sp>
        <p:nvSpPr>
          <p:cNvPr id="3" name="Content Placeholder 2"/>
          <p:cNvSpPr txBox="1">
            <a:spLocks/>
          </p:cNvSpPr>
          <p:nvPr/>
        </p:nvSpPr>
        <p:spPr>
          <a:xfrm>
            <a:off x="457200" y="770856"/>
            <a:ext cx="7886700" cy="3927702"/>
          </a:xfrm>
          <a:prstGeom prst="rect">
            <a:avLst/>
          </a:prstGeom>
        </p:spPr>
        <p:txBody>
          <a:bodyPr/>
          <a:lst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 Single Page Application is a web app in which the majority of interactions are handled on the client without the need to reach a server, with a goal of providing a more fluid user experience</a:t>
            </a:r>
            <a:endParaRPr lang="en-US"/>
          </a:p>
        </p:txBody>
      </p:sp>
      <p:pic>
        <p:nvPicPr>
          <p:cNvPr id="4" name="Picture 3"/>
          <p:cNvPicPr>
            <a:picLocks noChangeAspect="1"/>
          </p:cNvPicPr>
          <p:nvPr/>
        </p:nvPicPr>
        <p:blipFill>
          <a:blip r:embed="rId2"/>
          <a:stretch>
            <a:fillRect/>
          </a:stretch>
        </p:blipFill>
        <p:spPr>
          <a:xfrm>
            <a:off x="749030" y="1714501"/>
            <a:ext cx="4682246" cy="2633764"/>
          </a:xfrm>
          <a:prstGeom prst="rect">
            <a:avLst/>
          </a:prstGeom>
        </p:spPr>
      </p:pic>
      <p:sp>
        <p:nvSpPr>
          <p:cNvPr id="5" name="TextBox 4"/>
          <p:cNvSpPr txBox="1"/>
          <p:nvPr/>
        </p:nvSpPr>
        <p:spPr>
          <a:xfrm>
            <a:off x="1634245" y="4569501"/>
            <a:ext cx="3064213" cy="300082"/>
          </a:xfrm>
          <a:prstGeom prst="rect">
            <a:avLst/>
          </a:prstGeom>
          <a:noFill/>
        </p:spPr>
        <p:txBody>
          <a:bodyPr wrap="square" rtlCol="0">
            <a:spAutoFit/>
          </a:bodyPr>
          <a:lstStyle/>
          <a:p>
            <a:r>
              <a:rPr lang="en-US" dirty="0" smtClean="0"/>
              <a:t>Reference: https</a:t>
            </a:r>
            <a:r>
              <a:rPr lang="en-US" dirty="0"/>
              <a:t>://channel9.msdn.com/</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4523" y="1614793"/>
            <a:ext cx="2476907" cy="2476907"/>
          </a:xfrm>
          <a:prstGeom prst="rect">
            <a:avLst/>
          </a:prstGeom>
        </p:spPr>
      </p:pic>
      <p:sp>
        <p:nvSpPr>
          <p:cNvPr id="7" name="TextBox 6"/>
          <p:cNvSpPr txBox="1"/>
          <p:nvPr/>
        </p:nvSpPr>
        <p:spPr>
          <a:xfrm>
            <a:off x="6363163" y="1404433"/>
            <a:ext cx="1060315" cy="430887"/>
          </a:xfrm>
          <a:prstGeom prst="rect">
            <a:avLst/>
          </a:prstGeom>
          <a:noFill/>
        </p:spPr>
        <p:txBody>
          <a:bodyPr wrap="square" rtlCol="0">
            <a:spAutoFit/>
          </a:bodyPr>
          <a:lstStyle/>
          <a:p>
            <a:pPr algn="ctr"/>
            <a:r>
              <a:rPr lang="en-US" sz="1100" b="1" dirty="0" smtClean="0"/>
              <a:t>Client Side Routing</a:t>
            </a:r>
            <a:endParaRPr lang="en-US" sz="1100" b="1" dirty="0"/>
          </a:p>
        </p:txBody>
      </p:sp>
      <p:sp>
        <p:nvSpPr>
          <p:cNvPr id="8" name="TextBox 7"/>
          <p:cNvSpPr txBox="1"/>
          <p:nvPr/>
        </p:nvSpPr>
        <p:spPr>
          <a:xfrm>
            <a:off x="7559780" y="1384977"/>
            <a:ext cx="1060315" cy="430887"/>
          </a:xfrm>
          <a:prstGeom prst="rect">
            <a:avLst/>
          </a:prstGeom>
          <a:noFill/>
        </p:spPr>
        <p:txBody>
          <a:bodyPr wrap="square" rtlCol="0">
            <a:spAutoFit/>
          </a:bodyPr>
          <a:lstStyle/>
          <a:p>
            <a:pPr algn="ctr"/>
            <a:r>
              <a:rPr lang="en-US" sz="1100" b="1" dirty="0" smtClean="0"/>
              <a:t>Client Side Rendering</a:t>
            </a:r>
            <a:endParaRPr lang="en-US" sz="1100" b="1" dirty="0"/>
          </a:p>
        </p:txBody>
      </p:sp>
    </p:spTree>
    <p:extLst>
      <p:ext uri="{BB962C8B-B14F-4D97-AF65-F5344CB8AC3E}">
        <p14:creationId xmlns:p14="http://schemas.microsoft.com/office/powerpoint/2010/main" val="3116727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RESPONSIVE SINGLE PAGE APPLICATION</a:t>
            </a:r>
            <a:endParaRPr lang="en-US"/>
          </a:p>
        </p:txBody>
      </p:sp>
      <p:grpSp>
        <p:nvGrpSpPr>
          <p:cNvPr id="3" name="Group 2"/>
          <p:cNvGrpSpPr/>
          <p:nvPr/>
        </p:nvGrpSpPr>
        <p:grpSpPr>
          <a:xfrm>
            <a:off x="1813758" y="881483"/>
            <a:ext cx="5374983" cy="3804110"/>
            <a:chOff x="996635" y="2291994"/>
            <a:chExt cx="5374983" cy="380411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6635" y="2291994"/>
              <a:ext cx="5374983" cy="3804110"/>
            </a:xfrm>
            <a:prstGeom prst="rect">
              <a:avLst/>
            </a:prstGeom>
          </p:spPr>
        </p:pic>
        <p:sp>
          <p:nvSpPr>
            <p:cNvPr id="5" name="Rectangle 4"/>
            <p:cNvSpPr/>
            <p:nvPr/>
          </p:nvSpPr>
          <p:spPr>
            <a:xfrm>
              <a:off x="5234376" y="2651514"/>
              <a:ext cx="998483" cy="578069"/>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1532926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Elbow Connector 1"/>
          <p:cNvCxnSpPr>
            <a:stCxn id="5" idx="2"/>
            <a:endCxn id="9" idx="1"/>
          </p:cNvCxnSpPr>
          <p:nvPr/>
        </p:nvCxnSpPr>
        <p:spPr>
          <a:xfrm rot="16200000" flipH="1">
            <a:off x="2433318" y="2223443"/>
            <a:ext cx="607809" cy="1841395"/>
          </a:xfrm>
          <a:prstGeom prst="bentConnector2">
            <a:avLst/>
          </a:prstGeom>
          <a:ln w="15875"/>
        </p:spPr>
        <p:style>
          <a:lnRef idx="1">
            <a:schemeClr val="accent1"/>
          </a:lnRef>
          <a:fillRef idx="0">
            <a:schemeClr val="accent1"/>
          </a:fillRef>
          <a:effectRef idx="0">
            <a:schemeClr val="accent1"/>
          </a:effectRef>
          <a:fontRef idx="minor">
            <a:schemeClr val="tx1"/>
          </a:fontRef>
        </p:style>
      </p:cxnSp>
      <p:cxnSp>
        <p:nvCxnSpPr>
          <p:cNvPr id="3" name="Elbow Connector 2"/>
          <p:cNvCxnSpPr>
            <a:stCxn id="9" idx="2"/>
            <a:endCxn id="12" idx="1"/>
          </p:cNvCxnSpPr>
          <p:nvPr/>
        </p:nvCxnSpPr>
        <p:spPr>
          <a:xfrm rot="16200000" flipH="1">
            <a:off x="5830145" y="2743237"/>
            <a:ext cx="267509" cy="2378346"/>
          </a:xfrm>
          <a:prstGeom prst="bentConnector2">
            <a:avLst/>
          </a:prstGeom>
          <a:ln w="15875"/>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1392809" y="1945532"/>
            <a:ext cx="1087744" cy="894705"/>
            <a:chOff x="1392808" y="642026"/>
            <a:chExt cx="2255507" cy="2198211"/>
          </a:xfrm>
        </p:grpSpPr>
        <p:sp>
          <p:nvSpPr>
            <p:cNvPr id="5" name="Rounded Rectangle 4"/>
            <p:cNvSpPr/>
            <p:nvPr/>
          </p:nvSpPr>
          <p:spPr>
            <a:xfrm>
              <a:off x="1429966" y="2347369"/>
              <a:ext cx="1682885" cy="492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900" dirty="0" smtClean="0"/>
                <a:t>SPA</a:t>
              </a:r>
              <a:endParaRPr lang="en-US" sz="90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6731" y="642026"/>
              <a:ext cx="1781584" cy="1781584"/>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2808" y="1725885"/>
              <a:ext cx="659728" cy="658813"/>
            </a:xfrm>
            <a:prstGeom prst="rect">
              <a:avLst/>
            </a:prstGeom>
          </p:spPr>
        </p:pic>
      </p:grpSp>
      <p:grpSp>
        <p:nvGrpSpPr>
          <p:cNvPr id="8" name="Group 7"/>
          <p:cNvGrpSpPr/>
          <p:nvPr/>
        </p:nvGrpSpPr>
        <p:grpSpPr>
          <a:xfrm>
            <a:off x="3489955" y="1799617"/>
            <a:ext cx="2619015" cy="1999039"/>
            <a:chOff x="3489955" y="2347369"/>
            <a:chExt cx="1897221" cy="1451287"/>
          </a:xfrm>
        </p:grpSpPr>
        <p:sp>
          <p:nvSpPr>
            <p:cNvPr id="9" name="Rounded Rectangle 8"/>
            <p:cNvSpPr/>
            <p:nvPr/>
          </p:nvSpPr>
          <p:spPr>
            <a:xfrm>
              <a:off x="3611629" y="3289575"/>
              <a:ext cx="1618034" cy="50908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smtClean="0"/>
                <a:t>AngularJS</a:t>
              </a:r>
              <a:endParaRPr lang="en-US" b="1" dirty="0"/>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89955" y="2502472"/>
              <a:ext cx="811532" cy="810406"/>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92483" y="2347369"/>
              <a:ext cx="994693" cy="994693"/>
            </a:xfrm>
            <a:prstGeom prst="rect">
              <a:avLst/>
            </a:prstGeom>
          </p:spPr>
        </p:pic>
      </p:grpSp>
      <p:sp>
        <p:nvSpPr>
          <p:cNvPr id="12" name="Rounded Rectangle 11"/>
          <p:cNvSpPr/>
          <p:nvPr/>
        </p:nvSpPr>
        <p:spPr>
          <a:xfrm>
            <a:off x="7153072" y="3949430"/>
            <a:ext cx="979250" cy="233469"/>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err="1" smtClean="0"/>
              <a:t>TakeAway</a:t>
            </a:r>
            <a:endParaRPr lang="en-US" sz="1000" dirty="0"/>
          </a:p>
        </p:txBody>
      </p:sp>
      <p:sp>
        <p:nvSpPr>
          <p:cNvPr id="13"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AngularJS in Detail</a:t>
            </a:r>
            <a:endParaRPr lang="en-US" dirty="0"/>
          </a:p>
        </p:txBody>
      </p:sp>
    </p:spTree>
    <p:extLst>
      <p:ext uri="{BB962C8B-B14F-4D97-AF65-F5344CB8AC3E}">
        <p14:creationId xmlns:p14="http://schemas.microsoft.com/office/powerpoint/2010/main" val="3831831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6897177" y="3128049"/>
            <a:ext cx="1182" cy="479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6880967" y="2265530"/>
            <a:ext cx="1182" cy="479457"/>
          </a:xfrm>
          <a:prstGeom prst="line">
            <a:avLst/>
          </a:prstGeom>
        </p:spPr>
        <p:style>
          <a:lnRef idx="1">
            <a:schemeClr val="accent1"/>
          </a:lnRef>
          <a:fillRef idx="0">
            <a:schemeClr val="accent1"/>
          </a:fillRef>
          <a:effectRef idx="0">
            <a:schemeClr val="accent1"/>
          </a:effectRef>
          <a:fontRef idx="minor">
            <a:schemeClr val="tx1"/>
          </a:fontRef>
        </p:style>
      </p:cxnSp>
      <p:sp>
        <p:nvSpPr>
          <p:cNvPr id="4"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mtClean="0"/>
              <a:t>MVC &amp; MVW Way of AngularJS</a:t>
            </a:r>
            <a:endParaRPr lang="en-US"/>
          </a:p>
        </p:txBody>
      </p:sp>
      <p:pic>
        <p:nvPicPr>
          <p:cNvPr id="5" name="Picture 4"/>
          <p:cNvPicPr>
            <a:picLocks noChangeAspect="1"/>
          </p:cNvPicPr>
          <p:nvPr/>
        </p:nvPicPr>
        <p:blipFill>
          <a:blip r:embed="rId2"/>
          <a:stretch>
            <a:fillRect/>
          </a:stretch>
        </p:blipFill>
        <p:spPr>
          <a:xfrm>
            <a:off x="197749" y="1098080"/>
            <a:ext cx="4025088" cy="3018816"/>
          </a:xfrm>
          <a:prstGeom prst="rect">
            <a:avLst/>
          </a:prstGeom>
        </p:spPr>
      </p:pic>
      <p:sp>
        <p:nvSpPr>
          <p:cNvPr id="6" name="Rectangle 5"/>
          <p:cNvSpPr/>
          <p:nvPr/>
        </p:nvSpPr>
        <p:spPr>
          <a:xfrm>
            <a:off x="4859258" y="1367933"/>
            <a:ext cx="1264595" cy="1001949"/>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smtClean="0"/>
              <a:t>Model</a:t>
            </a:r>
            <a:endParaRPr lang="en-US" dirty="0"/>
          </a:p>
        </p:txBody>
      </p:sp>
      <p:sp>
        <p:nvSpPr>
          <p:cNvPr id="7" name="Rectangle 6"/>
          <p:cNvSpPr/>
          <p:nvPr/>
        </p:nvSpPr>
        <p:spPr>
          <a:xfrm>
            <a:off x="7657538" y="1338749"/>
            <a:ext cx="1264595" cy="1001949"/>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smtClean="0"/>
              <a:t>View</a:t>
            </a:r>
            <a:endParaRPr lang="en-US" dirty="0"/>
          </a:p>
        </p:txBody>
      </p:sp>
      <p:sp>
        <p:nvSpPr>
          <p:cNvPr id="8" name="Rectangle 7"/>
          <p:cNvSpPr/>
          <p:nvPr/>
        </p:nvSpPr>
        <p:spPr>
          <a:xfrm>
            <a:off x="6393874" y="3513474"/>
            <a:ext cx="1108019" cy="56933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Directive</a:t>
            </a:r>
            <a:endParaRPr lang="en-US" dirty="0"/>
          </a:p>
        </p:txBody>
      </p:sp>
      <p:sp>
        <p:nvSpPr>
          <p:cNvPr id="9" name="TextBox 8"/>
          <p:cNvSpPr txBox="1"/>
          <p:nvPr/>
        </p:nvSpPr>
        <p:spPr>
          <a:xfrm>
            <a:off x="1146303" y="4363979"/>
            <a:ext cx="2138294" cy="300082"/>
          </a:xfrm>
          <a:prstGeom prst="rect">
            <a:avLst/>
          </a:prstGeom>
          <a:noFill/>
        </p:spPr>
        <p:txBody>
          <a:bodyPr wrap="square" rtlCol="0">
            <a:spAutoFit/>
          </a:bodyPr>
          <a:lstStyle/>
          <a:p>
            <a:r>
              <a:rPr lang="en-US" dirty="0" smtClean="0"/>
              <a:t>Reference: Avaldes.com</a:t>
            </a:r>
            <a:endParaRPr lang="en-US" dirty="0"/>
          </a:p>
        </p:txBody>
      </p:sp>
      <p:sp>
        <p:nvSpPr>
          <p:cNvPr id="10" name="Rectangle 9"/>
          <p:cNvSpPr/>
          <p:nvPr/>
        </p:nvSpPr>
        <p:spPr>
          <a:xfrm>
            <a:off x="7852092" y="3513474"/>
            <a:ext cx="1079769" cy="56933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Unit Test</a:t>
            </a:r>
            <a:endParaRPr lang="en-US" dirty="0"/>
          </a:p>
        </p:txBody>
      </p:sp>
      <p:sp>
        <p:nvSpPr>
          <p:cNvPr id="11" name="Rectangle 10"/>
          <p:cNvSpPr/>
          <p:nvPr/>
        </p:nvSpPr>
        <p:spPr>
          <a:xfrm>
            <a:off x="5050108" y="3513474"/>
            <a:ext cx="1005649" cy="56933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Controller</a:t>
            </a:r>
            <a:endParaRPr lang="en-US" dirty="0"/>
          </a:p>
        </p:txBody>
      </p:sp>
      <p:sp>
        <p:nvSpPr>
          <p:cNvPr id="12" name="Rectangle 11"/>
          <p:cNvSpPr/>
          <p:nvPr/>
        </p:nvSpPr>
        <p:spPr>
          <a:xfrm>
            <a:off x="6240122" y="2607488"/>
            <a:ext cx="1261771" cy="51786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Whatever</a:t>
            </a:r>
            <a:endParaRPr lang="en-US" dirty="0"/>
          </a:p>
        </p:txBody>
      </p:sp>
      <p:pic>
        <p:nvPicPr>
          <p:cNvPr id="13" name="Picture 12"/>
          <p:cNvPicPr>
            <a:picLocks noChangeAspect="1"/>
          </p:cNvPicPr>
          <p:nvPr/>
        </p:nvPicPr>
        <p:blipFill>
          <a:blip r:embed="rId3"/>
          <a:stretch>
            <a:fillRect/>
          </a:stretch>
        </p:blipFill>
        <p:spPr>
          <a:xfrm>
            <a:off x="6476901" y="1457398"/>
            <a:ext cx="827588" cy="827588"/>
          </a:xfrm>
          <a:prstGeom prst="rect">
            <a:avLst/>
          </a:prstGeom>
        </p:spPr>
      </p:pic>
      <p:cxnSp>
        <p:nvCxnSpPr>
          <p:cNvPr id="14" name="Straight Connector 13"/>
          <p:cNvCxnSpPr>
            <a:stCxn id="6" idx="3"/>
          </p:cNvCxnSpPr>
          <p:nvPr/>
        </p:nvCxnSpPr>
        <p:spPr>
          <a:xfrm>
            <a:off x="6123853" y="1868908"/>
            <a:ext cx="421144" cy="228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219828" y="1855939"/>
            <a:ext cx="421144" cy="228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1" idx="0"/>
            <a:endCxn id="12" idx="1"/>
          </p:cNvCxnSpPr>
          <p:nvPr/>
        </p:nvCxnSpPr>
        <p:spPr>
          <a:xfrm flipV="1">
            <a:off x="5552933" y="2866421"/>
            <a:ext cx="687189" cy="647053"/>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0" idx="0"/>
          </p:cNvCxnSpPr>
          <p:nvPr/>
        </p:nvCxnSpPr>
        <p:spPr>
          <a:xfrm>
            <a:off x="7501893" y="2884935"/>
            <a:ext cx="890084" cy="628539"/>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5179808" y="1713858"/>
            <a:ext cx="350196" cy="203689"/>
          </a:xfrm>
          <a:prstGeom prst="rect">
            <a:avLst/>
          </a:prstGeom>
          <a:solidFill>
            <a:schemeClr val="accent1">
              <a:alpha val="75000"/>
            </a:schemeClr>
          </a:solidFill>
          <a:ln>
            <a:solidFill>
              <a:schemeClr val="accent1">
                <a:shade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332208" y="1866258"/>
            <a:ext cx="350196" cy="203689"/>
          </a:xfrm>
          <a:prstGeom prst="rect">
            <a:avLst/>
          </a:prstGeom>
          <a:solidFill>
            <a:schemeClr val="accent1">
              <a:alpha val="75000"/>
            </a:schemeClr>
          </a:solidFill>
          <a:ln>
            <a:solidFill>
              <a:schemeClr val="accent1">
                <a:shade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5484608" y="2018658"/>
            <a:ext cx="350196" cy="203689"/>
          </a:xfrm>
          <a:prstGeom prst="rect">
            <a:avLst/>
          </a:prstGeom>
          <a:solidFill>
            <a:schemeClr val="accent1">
              <a:alpha val="75000"/>
            </a:schemeClr>
          </a:solidFill>
          <a:ln>
            <a:solidFill>
              <a:schemeClr val="accent1">
                <a:shade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852092" y="1713858"/>
            <a:ext cx="882002" cy="20368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HTML</a:t>
            </a:r>
            <a:endParaRPr lang="en-US" dirty="0"/>
          </a:p>
        </p:txBody>
      </p:sp>
      <p:sp>
        <p:nvSpPr>
          <p:cNvPr id="22" name="Rectangle 21"/>
          <p:cNvSpPr/>
          <p:nvPr/>
        </p:nvSpPr>
        <p:spPr>
          <a:xfrm>
            <a:off x="7852092" y="2023323"/>
            <a:ext cx="882002" cy="20368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CSS</a:t>
            </a:r>
            <a:endParaRPr lang="en-US" dirty="0"/>
          </a:p>
        </p:txBody>
      </p:sp>
      <p:cxnSp>
        <p:nvCxnSpPr>
          <p:cNvPr id="23" name="Straight Connector 22"/>
          <p:cNvCxnSpPr/>
          <p:nvPr/>
        </p:nvCxnSpPr>
        <p:spPr>
          <a:xfrm>
            <a:off x="4435366" y="1084369"/>
            <a:ext cx="10510" cy="3091439"/>
          </a:xfrm>
          <a:prstGeom prst="line">
            <a:avLst/>
          </a:prstGeom>
          <a:ln w="15875" cmpd="sng">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856748" y="745700"/>
            <a:ext cx="1177159" cy="400110"/>
          </a:xfrm>
          <a:prstGeom prst="rect">
            <a:avLst/>
          </a:prstGeom>
          <a:noFill/>
        </p:spPr>
        <p:txBody>
          <a:bodyPr wrap="square" rtlCol="0">
            <a:spAutoFit/>
          </a:bodyPr>
          <a:lstStyle/>
          <a:p>
            <a:r>
              <a:rPr lang="en-US" sz="2000" b="1" dirty="0" smtClean="0"/>
              <a:t>MVC</a:t>
            </a:r>
            <a:endParaRPr lang="en-US" sz="2000" b="1" dirty="0"/>
          </a:p>
        </p:txBody>
      </p:sp>
      <p:sp>
        <p:nvSpPr>
          <p:cNvPr id="25" name="TextBox 24"/>
          <p:cNvSpPr txBox="1"/>
          <p:nvPr/>
        </p:nvSpPr>
        <p:spPr>
          <a:xfrm>
            <a:off x="6438339" y="746538"/>
            <a:ext cx="1177159" cy="400110"/>
          </a:xfrm>
          <a:prstGeom prst="rect">
            <a:avLst/>
          </a:prstGeom>
          <a:noFill/>
        </p:spPr>
        <p:txBody>
          <a:bodyPr wrap="square" rtlCol="0">
            <a:spAutoFit/>
          </a:bodyPr>
          <a:lstStyle/>
          <a:p>
            <a:r>
              <a:rPr lang="en-US" sz="2000" b="1" dirty="0" smtClean="0"/>
              <a:t>MVW</a:t>
            </a:r>
            <a:endParaRPr lang="en-US" sz="2000" b="1" dirty="0"/>
          </a:p>
        </p:txBody>
      </p:sp>
    </p:spTree>
    <p:extLst>
      <p:ext uri="{BB962C8B-B14F-4D97-AF65-F5344CB8AC3E}">
        <p14:creationId xmlns:p14="http://schemas.microsoft.com/office/powerpoint/2010/main" val="2254698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Features of AngularJS</a:t>
            </a:r>
            <a:endParaRPr lang="en-US" dirty="0"/>
          </a:p>
        </p:txBody>
      </p:sp>
      <p:pic>
        <p:nvPicPr>
          <p:cNvPr id="37" name="Picture 36"/>
          <p:cNvPicPr>
            <a:picLocks noChangeAspect="1"/>
          </p:cNvPicPr>
          <p:nvPr/>
        </p:nvPicPr>
        <p:blipFill rotWithShape="1">
          <a:blip r:embed="rId2">
            <a:extLst>
              <a:ext uri="{28A0092B-C50C-407E-A947-70E740481C1C}">
                <a14:useLocalDpi xmlns:a14="http://schemas.microsoft.com/office/drawing/2010/main" val="0"/>
              </a:ext>
            </a:extLst>
          </a:blip>
          <a:srcRect b="27051"/>
          <a:stretch/>
        </p:blipFill>
        <p:spPr>
          <a:xfrm>
            <a:off x="2962300" y="824747"/>
            <a:ext cx="3234224" cy="3391593"/>
          </a:xfrm>
          <a:prstGeom prst="rect">
            <a:avLst/>
          </a:prstGeom>
        </p:spPr>
      </p:pic>
      <p:pic>
        <p:nvPicPr>
          <p:cNvPr id="38" name="Picture 37"/>
          <p:cNvPicPr>
            <a:picLocks noChangeAspect="1"/>
          </p:cNvPicPr>
          <p:nvPr/>
        </p:nvPicPr>
        <p:blipFill rotWithShape="1">
          <a:blip r:embed="rId2">
            <a:extLst>
              <a:ext uri="{28A0092B-C50C-407E-A947-70E740481C1C}">
                <a14:useLocalDpi xmlns:a14="http://schemas.microsoft.com/office/drawing/2010/main" val="0"/>
              </a:ext>
            </a:extLst>
          </a:blip>
          <a:srcRect t="73255" b="193"/>
          <a:stretch/>
        </p:blipFill>
        <p:spPr>
          <a:xfrm>
            <a:off x="3278212" y="4156074"/>
            <a:ext cx="2587576" cy="997154"/>
          </a:xfrm>
          <a:prstGeom prst="rect">
            <a:avLst/>
          </a:prstGeom>
        </p:spPr>
      </p:pic>
    </p:spTree>
    <p:extLst>
      <p:ext uri="{BB962C8B-B14F-4D97-AF65-F5344CB8AC3E}">
        <p14:creationId xmlns:p14="http://schemas.microsoft.com/office/powerpoint/2010/main" val="1986100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30388" y="1297983"/>
            <a:ext cx="4885464" cy="2575064"/>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latin typeface="Calibri" panose="020F0502020204030204" pitchFamily="34" charset="0"/>
                <a:cs typeface="Calibri" panose="020F0502020204030204" pitchFamily="34" charset="0"/>
              </a:rPr>
              <a:t>Why should we use </a:t>
            </a:r>
            <a:r>
              <a:rPr lang="en-US" sz="1400" dirty="0" smtClean="0">
                <a:latin typeface="Calibri" panose="020F0502020204030204" pitchFamily="34" charset="0"/>
                <a:cs typeface="Calibri" panose="020F0502020204030204" pitchFamily="34" charset="0"/>
              </a:rPr>
              <a:t>AngularJS</a:t>
            </a:r>
          </a:p>
          <a:p>
            <a:pPr marL="285750" indent="-285750">
              <a:buFont typeface="Wingdings" panose="05000000000000000000" pitchFamily="2" charset="2"/>
              <a:buChar char="ü"/>
            </a:pPr>
            <a:endParaRPr lang="en-US" sz="140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latin typeface="Calibri" panose="020F0502020204030204" pitchFamily="34" charset="0"/>
                <a:cs typeface="Calibri" panose="020F0502020204030204" pitchFamily="34" charset="0"/>
              </a:rPr>
              <a:t>What is </a:t>
            </a:r>
            <a:r>
              <a:rPr lang="en-US" sz="1400" dirty="0" smtClean="0">
                <a:latin typeface="Calibri" panose="020F0502020204030204" pitchFamily="34" charset="0"/>
                <a:cs typeface="Calibri" panose="020F0502020204030204" pitchFamily="34" charset="0"/>
              </a:rPr>
              <a:t>AngularJS</a:t>
            </a:r>
          </a:p>
          <a:p>
            <a:pPr marL="285750" indent="-285750">
              <a:buFont typeface="Wingdings" panose="05000000000000000000" pitchFamily="2" charset="2"/>
              <a:buChar char="ü"/>
            </a:pPr>
            <a:endParaRPr lang="en-US" sz="140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latin typeface="Calibri" panose="020F0502020204030204" pitchFamily="34" charset="0"/>
                <a:cs typeface="Calibri" panose="020F0502020204030204" pitchFamily="34" charset="0"/>
              </a:rPr>
              <a:t>MVC &amp; MVW </a:t>
            </a:r>
            <a:r>
              <a:rPr lang="en-US" sz="1400" dirty="0" smtClean="0">
                <a:latin typeface="Calibri" panose="020F0502020204030204" pitchFamily="34" charset="0"/>
                <a:cs typeface="Calibri" panose="020F0502020204030204" pitchFamily="34" charset="0"/>
              </a:rPr>
              <a:t>Architecture</a:t>
            </a:r>
          </a:p>
          <a:p>
            <a:pPr marL="285750" indent="-285750">
              <a:buFont typeface="Wingdings" panose="05000000000000000000" pitchFamily="2" charset="2"/>
              <a:buChar char="ü"/>
            </a:pPr>
            <a:endParaRPr lang="en-US" sz="140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latin typeface="Calibri" panose="020F0502020204030204" pitchFamily="34" charset="0"/>
                <a:cs typeface="Calibri" panose="020F0502020204030204" pitchFamily="34" charset="0"/>
              </a:rPr>
              <a:t>AngularJS </a:t>
            </a:r>
            <a:r>
              <a:rPr lang="en-US" sz="1400" dirty="0" smtClean="0">
                <a:latin typeface="Calibri" panose="020F0502020204030204" pitchFamily="34" charset="0"/>
                <a:cs typeface="Calibri" panose="020F0502020204030204" pitchFamily="34" charset="0"/>
              </a:rPr>
              <a:t>Features</a:t>
            </a:r>
          </a:p>
          <a:p>
            <a:pPr marL="285750" indent="-285750">
              <a:buFont typeface="Wingdings" panose="05000000000000000000" pitchFamily="2" charset="2"/>
              <a:buChar char="ü"/>
            </a:pPr>
            <a:endParaRPr lang="en-US" sz="140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latin typeface="Calibri" panose="020F0502020204030204" pitchFamily="34" charset="0"/>
                <a:cs typeface="Calibri" panose="020F0502020204030204" pitchFamily="34" charset="0"/>
              </a:rPr>
              <a:t>How to </a:t>
            </a:r>
            <a:r>
              <a:rPr lang="en-US" sz="1400" dirty="0" smtClean="0">
                <a:latin typeface="Calibri" panose="020F0502020204030204" pitchFamily="34" charset="0"/>
                <a:cs typeface="Calibri" panose="020F0502020204030204" pitchFamily="34" charset="0"/>
              </a:rPr>
              <a:t>Build </a:t>
            </a:r>
            <a:r>
              <a:rPr lang="en-US" sz="1400" dirty="0">
                <a:latin typeface="Calibri" panose="020F0502020204030204" pitchFamily="34" charset="0"/>
                <a:cs typeface="Calibri" panose="020F0502020204030204" pitchFamily="34" charset="0"/>
              </a:rPr>
              <a:t>a </a:t>
            </a:r>
            <a:r>
              <a:rPr lang="en-US" sz="1400" dirty="0" smtClean="0">
                <a:latin typeface="Calibri" panose="020F0502020204030204" pitchFamily="34" charset="0"/>
                <a:cs typeface="Calibri" panose="020F0502020204030204" pitchFamily="34" charset="0"/>
              </a:rPr>
              <a:t>Responsive </a:t>
            </a:r>
            <a:r>
              <a:rPr lang="en-US" sz="1400" dirty="0">
                <a:latin typeface="Calibri" panose="020F0502020204030204" pitchFamily="34" charset="0"/>
                <a:cs typeface="Calibri" panose="020F0502020204030204" pitchFamily="34" charset="0"/>
              </a:rPr>
              <a:t>S</a:t>
            </a:r>
            <a:r>
              <a:rPr lang="en-US" sz="1400" dirty="0" smtClean="0">
                <a:latin typeface="Calibri" panose="020F0502020204030204" pitchFamily="34" charset="0"/>
                <a:cs typeface="Calibri" panose="020F0502020204030204" pitchFamily="34" charset="0"/>
              </a:rPr>
              <a:t>ingle Page </a:t>
            </a:r>
            <a:r>
              <a:rPr lang="en-US" sz="1400" dirty="0">
                <a:latin typeface="Calibri" panose="020F0502020204030204" pitchFamily="34" charset="0"/>
                <a:cs typeface="Calibri" panose="020F0502020204030204" pitchFamily="34" charset="0"/>
              </a:rPr>
              <a:t>A</a:t>
            </a:r>
            <a:r>
              <a:rPr lang="en-US" sz="1400" dirty="0" smtClean="0">
                <a:latin typeface="Calibri" panose="020F0502020204030204" pitchFamily="34" charset="0"/>
                <a:cs typeface="Calibri" panose="020F0502020204030204" pitchFamily="34" charset="0"/>
              </a:rPr>
              <a:t>pplication</a:t>
            </a:r>
            <a:endParaRPr lang="en-US" sz="1400" dirty="0">
              <a:latin typeface="Calibri" panose="020F0502020204030204" pitchFamily="34" charset="0"/>
              <a:cs typeface="Calibri" panose="020F0502020204030204" pitchFamily="34" charset="0"/>
            </a:endParaRPr>
          </a:p>
          <a:p>
            <a:pPr defTabSz="430213">
              <a:spcAft>
                <a:spcPts val="400"/>
              </a:spcAft>
              <a:buSzPct val="100000"/>
            </a:pPr>
            <a:endParaRPr lang="en-US" sz="1600" dirty="0" smtClean="0">
              <a:solidFill>
                <a:srgbClr val="000000"/>
              </a:solidFill>
              <a:latin typeface="Calibri" panose="020F0502020204030204" pitchFamily="34" charset="0"/>
              <a:cs typeface="HP Simplified" pitchFamily="34" charset="0"/>
            </a:endParaRPr>
          </a:p>
          <a:p>
            <a:pPr marL="285750" indent="-285750" defTabSz="430213">
              <a:spcAft>
                <a:spcPts val="400"/>
              </a:spcAft>
              <a:buSzPct val="100000"/>
              <a:buFont typeface="Wingdings" panose="05000000000000000000" pitchFamily="2" charset="2"/>
              <a:buChar char="ü"/>
            </a:pPr>
            <a:endParaRPr lang="en-US" sz="1600" dirty="0" smtClean="0">
              <a:solidFill>
                <a:srgbClr val="000000"/>
              </a:solidFill>
              <a:latin typeface="Calibri" panose="020F0502020204030204" pitchFamily="34" charset="0"/>
              <a:cs typeface="HP Simplified" pitchFamily="34" charset="0"/>
            </a:endParaRPr>
          </a:p>
        </p:txBody>
      </p:sp>
      <p:sp>
        <p:nvSpPr>
          <p:cNvPr id="4" name="Oval 3"/>
          <p:cNvSpPr/>
          <p:nvPr/>
        </p:nvSpPr>
        <p:spPr>
          <a:xfrm>
            <a:off x="6400800" y="1381016"/>
            <a:ext cx="2458192" cy="245973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pic>
        <p:nvPicPr>
          <p:cNvPr id="5" name="Picture 247" descr="C:\Users\lopezga\Documents\a-FY14\Icons 2014\Web-Communications_Icons\Group_project\Group_project_RGB\Group_project_RGB_white_NT.png"/>
          <p:cNvPicPr preferRelativeResize="0">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21840" y="1480103"/>
            <a:ext cx="439521" cy="44122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38" descr="C:\Users\lopezga\Documents\a-FY14\Icons 2014\Web-Communications_Icons\Alliances\Alliances_RGB\Alliances_RGB_white_NT.png"/>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86736" y="2350516"/>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1" descr="C:\Users\lopezga\Documents\a-FY14\Icons 2014\Web-Communications_Icons\Support\Support_RGB\Support_RGB_white_NT.png"/>
          <p:cNvPicPr preferRelativeResize="0">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3041" y="2350515"/>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23" descr="C:\Users\lopezga\Documents\a-FY14\Icons 2014\Web-Communications_Icons\Professional_development\Professional_development_RGB\Professional_development_RGB_white_NT.png"/>
          <p:cNvPicPr preferRelativeResize="0">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21840" y="3178892"/>
            <a:ext cx="512774" cy="514757"/>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101"/>
          <p:cNvGrpSpPr>
            <a:grpSpLocks/>
          </p:cNvGrpSpPr>
          <p:nvPr/>
        </p:nvGrpSpPr>
        <p:grpSpPr>
          <a:xfrm>
            <a:off x="7355576" y="2234894"/>
            <a:ext cx="612648" cy="603504"/>
            <a:chOff x="2644022" y="3804641"/>
            <a:chExt cx="258802" cy="373251"/>
          </a:xfrm>
          <a:solidFill>
            <a:schemeClr val="bg1"/>
          </a:solidFill>
        </p:grpSpPr>
        <p:grpSp>
          <p:nvGrpSpPr>
            <p:cNvPr id="10" name="Group 9"/>
            <p:cNvGrpSpPr/>
            <p:nvPr/>
          </p:nvGrpSpPr>
          <p:grpSpPr>
            <a:xfrm>
              <a:off x="2661909" y="3804641"/>
              <a:ext cx="221532" cy="337923"/>
              <a:chOff x="4992029" y="402340"/>
              <a:chExt cx="825588" cy="1259346"/>
            </a:xfrm>
            <a:grpFill/>
          </p:grpSpPr>
          <p:sp>
            <p:nvSpPr>
              <p:cNvPr id="12" name="Freeform 11"/>
              <p:cNvSpPr/>
              <p:nvPr/>
            </p:nvSpPr>
            <p:spPr>
              <a:xfrm flipH="1">
                <a:off x="4992029" y="402340"/>
                <a:ext cx="825588" cy="1259346"/>
              </a:xfrm>
              <a:custGeom>
                <a:avLst/>
                <a:gdLst>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2466498"/>
                  <a:gd name="connsiteY0" fmla="*/ 0 h 3274695"/>
                  <a:gd name="connsiteX1" fmla="*/ 1537335 w 2466498"/>
                  <a:gd name="connsiteY1" fmla="*/ 0 h 3274695"/>
                  <a:gd name="connsiteX2" fmla="*/ 1748790 w 2466498"/>
                  <a:gd name="connsiteY2" fmla="*/ 234315 h 3274695"/>
                  <a:gd name="connsiteX3" fmla="*/ 2466498 w 2466498"/>
                  <a:gd name="connsiteY3" fmla="*/ 768806 h 3274695"/>
                  <a:gd name="connsiteX4" fmla="*/ 1497330 w 2466498"/>
                  <a:gd name="connsiteY4" fmla="*/ 1583055 h 3274695"/>
                  <a:gd name="connsiteX5" fmla="*/ 1508760 w 2466498"/>
                  <a:gd name="connsiteY5" fmla="*/ 480060 h 3274695"/>
                  <a:gd name="connsiteX6" fmla="*/ 1388745 w 2466498"/>
                  <a:gd name="connsiteY6" fmla="*/ 417195 h 3274695"/>
                  <a:gd name="connsiteX7" fmla="*/ 1383030 w 2466498"/>
                  <a:gd name="connsiteY7" fmla="*/ 1703070 h 3274695"/>
                  <a:gd name="connsiteX8" fmla="*/ 1217295 w 2466498"/>
                  <a:gd name="connsiteY8" fmla="*/ 3188970 h 3274695"/>
                  <a:gd name="connsiteX9" fmla="*/ 1120140 w 2466498"/>
                  <a:gd name="connsiteY9" fmla="*/ 3274695 h 3274695"/>
                  <a:gd name="connsiteX10" fmla="*/ 617220 w 2466498"/>
                  <a:gd name="connsiteY10" fmla="*/ 3274695 h 3274695"/>
                  <a:gd name="connsiteX11" fmla="*/ 520065 w 2466498"/>
                  <a:gd name="connsiteY11" fmla="*/ 3143250 h 3274695"/>
                  <a:gd name="connsiteX12" fmla="*/ 371475 w 2466498"/>
                  <a:gd name="connsiteY12" fmla="*/ 1651635 h 3274695"/>
                  <a:gd name="connsiteX13" fmla="*/ 365760 w 2466498"/>
                  <a:gd name="connsiteY13" fmla="*/ 417195 h 3274695"/>
                  <a:gd name="connsiteX14" fmla="*/ 251460 w 2466498"/>
                  <a:gd name="connsiteY14" fmla="*/ 491490 h 3274695"/>
                  <a:gd name="connsiteX15" fmla="*/ 251460 w 2466498"/>
                  <a:gd name="connsiteY15" fmla="*/ 1571625 h 3274695"/>
                  <a:gd name="connsiteX16" fmla="*/ 0 w 2466498"/>
                  <a:gd name="connsiteY16" fmla="*/ 1560195 h 3274695"/>
                  <a:gd name="connsiteX17" fmla="*/ 0 w 2466498"/>
                  <a:gd name="connsiteY17" fmla="*/ 257175 h 3274695"/>
                  <a:gd name="connsiteX18" fmla="*/ 200025 w 2466498"/>
                  <a:gd name="connsiteY18"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1497330 w 2473166"/>
                  <a:gd name="connsiteY3" fmla="*/ 1583055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66498"/>
                  <a:gd name="connsiteY0" fmla="*/ 0 h 3274695"/>
                  <a:gd name="connsiteX1" fmla="*/ 1537335 w 2466498"/>
                  <a:gd name="connsiteY1" fmla="*/ 0 h 3274695"/>
                  <a:gd name="connsiteX2" fmla="*/ 2466498 w 2466498"/>
                  <a:gd name="connsiteY2" fmla="*/ 768806 h 3274695"/>
                  <a:gd name="connsiteX3" fmla="*/ 2167822 w 2466498"/>
                  <a:gd name="connsiteY3" fmla="*/ 1071367 h 3274695"/>
                  <a:gd name="connsiteX4" fmla="*/ 1508760 w 2466498"/>
                  <a:gd name="connsiteY4" fmla="*/ 480060 h 3274695"/>
                  <a:gd name="connsiteX5" fmla="*/ 1388745 w 2466498"/>
                  <a:gd name="connsiteY5" fmla="*/ 417195 h 3274695"/>
                  <a:gd name="connsiteX6" fmla="*/ 1383030 w 2466498"/>
                  <a:gd name="connsiteY6" fmla="*/ 1703070 h 3274695"/>
                  <a:gd name="connsiteX7" fmla="*/ 1217295 w 2466498"/>
                  <a:gd name="connsiteY7" fmla="*/ 3188970 h 3274695"/>
                  <a:gd name="connsiteX8" fmla="*/ 1120140 w 2466498"/>
                  <a:gd name="connsiteY8" fmla="*/ 3274695 h 3274695"/>
                  <a:gd name="connsiteX9" fmla="*/ 617220 w 2466498"/>
                  <a:gd name="connsiteY9" fmla="*/ 3274695 h 3274695"/>
                  <a:gd name="connsiteX10" fmla="*/ 520065 w 2466498"/>
                  <a:gd name="connsiteY10" fmla="*/ 3143250 h 3274695"/>
                  <a:gd name="connsiteX11" fmla="*/ 371475 w 2466498"/>
                  <a:gd name="connsiteY11" fmla="*/ 1651635 h 3274695"/>
                  <a:gd name="connsiteX12" fmla="*/ 365760 w 2466498"/>
                  <a:gd name="connsiteY12" fmla="*/ 417195 h 3274695"/>
                  <a:gd name="connsiteX13" fmla="*/ 251460 w 2466498"/>
                  <a:gd name="connsiteY13" fmla="*/ 491490 h 3274695"/>
                  <a:gd name="connsiteX14" fmla="*/ 251460 w 2466498"/>
                  <a:gd name="connsiteY14" fmla="*/ 1571625 h 3274695"/>
                  <a:gd name="connsiteX15" fmla="*/ 0 w 2466498"/>
                  <a:gd name="connsiteY15" fmla="*/ 1560195 h 3274695"/>
                  <a:gd name="connsiteX16" fmla="*/ 0 w 2466498"/>
                  <a:gd name="connsiteY16" fmla="*/ 257175 h 3274695"/>
                  <a:gd name="connsiteX17" fmla="*/ 200025 w 24664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167822 w 2387098"/>
                  <a:gd name="connsiteY3" fmla="*/ 1071367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238398 w 2387098"/>
                  <a:gd name="connsiteY3" fmla="*/ 1133124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420580 w 2607653"/>
                  <a:gd name="connsiteY0" fmla="*/ 1096451 h 4371146"/>
                  <a:gd name="connsiteX1" fmla="*/ 1757890 w 2607653"/>
                  <a:gd name="connsiteY1" fmla="*/ 1096451 h 4371146"/>
                  <a:gd name="connsiteX2" fmla="*/ 2607653 w 2607653"/>
                  <a:gd name="connsiteY2" fmla="*/ 2015233 h 4371146"/>
                  <a:gd name="connsiteX3" fmla="*/ 2458953 w 2607653"/>
                  <a:gd name="connsiteY3" fmla="*/ 2229575 h 4371146"/>
                  <a:gd name="connsiteX4" fmla="*/ 1729315 w 2607653"/>
                  <a:gd name="connsiteY4" fmla="*/ 1576511 h 4371146"/>
                  <a:gd name="connsiteX5" fmla="*/ 1609300 w 2607653"/>
                  <a:gd name="connsiteY5" fmla="*/ 1513646 h 4371146"/>
                  <a:gd name="connsiteX6" fmla="*/ 1603585 w 2607653"/>
                  <a:gd name="connsiteY6" fmla="*/ 2799521 h 4371146"/>
                  <a:gd name="connsiteX7" fmla="*/ 1437850 w 2607653"/>
                  <a:gd name="connsiteY7" fmla="*/ 4285421 h 4371146"/>
                  <a:gd name="connsiteX8" fmla="*/ 1340695 w 2607653"/>
                  <a:gd name="connsiteY8" fmla="*/ 4371146 h 4371146"/>
                  <a:gd name="connsiteX9" fmla="*/ 837775 w 2607653"/>
                  <a:gd name="connsiteY9" fmla="*/ 4371146 h 4371146"/>
                  <a:gd name="connsiteX10" fmla="*/ 740620 w 2607653"/>
                  <a:gd name="connsiteY10" fmla="*/ 4239701 h 4371146"/>
                  <a:gd name="connsiteX11" fmla="*/ 592030 w 2607653"/>
                  <a:gd name="connsiteY11" fmla="*/ 2748086 h 4371146"/>
                  <a:gd name="connsiteX12" fmla="*/ 586315 w 2607653"/>
                  <a:gd name="connsiteY12" fmla="*/ 1513646 h 4371146"/>
                  <a:gd name="connsiteX13" fmla="*/ 472015 w 2607653"/>
                  <a:gd name="connsiteY13" fmla="*/ 1587941 h 4371146"/>
                  <a:gd name="connsiteX14" fmla="*/ 472015 w 2607653"/>
                  <a:gd name="connsiteY14" fmla="*/ 2668076 h 4371146"/>
                  <a:gd name="connsiteX15" fmla="*/ 220555 w 2607653"/>
                  <a:gd name="connsiteY15" fmla="*/ 2656646 h 4371146"/>
                  <a:gd name="connsiteX16" fmla="*/ 0 w 2607653"/>
                  <a:gd name="connsiteY16" fmla="*/ 171449 h 4371146"/>
                  <a:gd name="connsiteX17" fmla="*/ 420580 w 260765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701395 w 2837033"/>
                  <a:gd name="connsiteY14" fmla="*/ 2668076 h 4371146"/>
                  <a:gd name="connsiteX15" fmla="*/ 0 w 2837033"/>
                  <a:gd name="connsiteY15" fmla="*/ 265827 h 4371146"/>
                  <a:gd name="connsiteX16" fmla="*/ 229380 w 2837033"/>
                  <a:gd name="connsiteY16" fmla="*/ 171449 h 4371146"/>
                  <a:gd name="connsiteX17" fmla="*/ 649960 w 283703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985207 w 2837033"/>
                  <a:gd name="connsiteY0" fmla="*/ 1114097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985207 w 2837033"/>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987646 h 4244695"/>
                  <a:gd name="connsiteX1" fmla="*/ 1934337 w 2784100"/>
                  <a:gd name="connsiteY1" fmla="*/ 970000 h 4244695"/>
                  <a:gd name="connsiteX2" fmla="*/ 2784100 w 2784100"/>
                  <a:gd name="connsiteY2" fmla="*/ 1888782 h 4244695"/>
                  <a:gd name="connsiteX3" fmla="*/ 2635400 w 2784100"/>
                  <a:gd name="connsiteY3" fmla="*/ 2103124 h 4244695"/>
                  <a:gd name="connsiteX4" fmla="*/ 1905762 w 2784100"/>
                  <a:gd name="connsiteY4" fmla="*/ 1450060 h 4244695"/>
                  <a:gd name="connsiteX5" fmla="*/ 1785747 w 2784100"/>
                  <a:gd name="connsiteY5" fmla="*/ 1387195 h 4244695"/>
                  <a:gd name="connsiteX6" fmla="*/ 1780032 w 2784100"/>
                  <a:gd name="connsiteY6" fmla="*/ 2673070 h 4244695"/>
                  <a:gd name="connsiteX7" fmla="*/ 1614297 w 2784100"/>
                  <a:gd name="connsiteY7" fmla="*/ 4158970 h 4244695"/>
                  <a:gd name="connsiteX8" fmla="*/ 1517142 w 2784100"/>
                  <a:gd name="connsiteY8" fmla="*/ 4244695 h 4244695"/>
                  <a:gd name="connsiteX9" fmla="*/ 1014222 w 2784100"/>
                  <a:gd name="connsiteY9" fmla="*/ 4244695 h 4244695"/>
                  <a:gd name="connsiteX10" fmla="*/ 917067 w 2784100"/>
                  <a:gd name="connsiteY10" fmla="*/ 4113250 h 4244695"/>
                  <a:gd name="connsiteX11" fmla="*/ 768477 w 2784100"/>
                  <a:gd name="connsiteY11" fmla="*/ 2621635 h 4244695"/>
                  <a:gd name="connsiteX12" fmla="*/ 762762 w 2784100"/>
                  <a:gd name="connsiteY12" fmla="*/ 1387195 h 4244695"/>
                  <a:gd name="connsiteX13" fmla="*/ 604351 w 2784100"/>
                  <a:gd name="connsiteY13" fmla="*/ 1337980 h 4244695"/>
                  <a:gd name="connsiteX14" fmla="*/ 0 w 2784100"/>
                  <a:gd name="connsiteY14" fmla="*/ 254065 h 4244695"/>
                  <a:gd name="connsiteX15" fmla="*/ 176447 w 2784100"/>
                  <a:gd name="connsiteY15" fmla="*/ 44998 h 4244695"/>
                  <a:gd name="connsiteX16" fmla="*/ 932274 w 2784100"/>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57284 w 2837033"/>
                  <a:gd name="connsiteY13" fmla="*/ 1337980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07870 w 2837033"/>
                  <a:gd name="connsiteY1" fmla="*/ 1022935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51981 w 2837033"/>
                  <a:gd name="connsiteY1" fmla="*/ 996468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688333 w 3101700"/>
                  <a:gd name="connsiteY3" fmla="*/ 210312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26535 w 3101700"/>
                  <a:gd name="connsiteY3" fmla="*/ 1706126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17713 w 3101700"/>
                  <a:gd name="connsiteY3" fmla="*/ 173259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899421 h 4156470"/>
                  <a:gd name="connsiteX1" fmla="*/ 1951981 w 3101700"/>
                  <a:gd name="connsiteY1" fmla="*/ 908243 h 4156470"/>
                  <a:gd name="connsiteX2" fmla="*/ 3101700 w 3101700"/>
                  <a:gd name="connsiteY2" fmla="*/ 1482956 h 4156470"/>
                  <a:gd name="connsiteX3" fmla="*/ 2917713 w 3101700"/>
                  <a:gd name="connsiteY3" fmla="*/ 1644369 h 4156470"/>
                  <a:gd name="connsiteX4" fmla="*/ 1932227 w 3101700"/>
                  <a:gd name="connsiteY4" fmla="*/ 1335367 h 4156470"/>
                  <a:gd name="connsiteX5" fmla="*/ 1821038 w 3101700"/>
                  <a:gd name="connsiteY5" fmla="*/ 1369549 h 4156470"/>
                  <a:gd name="connsiteX6" fmla="*/ 1832965 w 3101700"/>
                  <a:gd name="connsiteY6" fmla="*/ 2584845 h 4156470"/>
                  <a:gd name="connsiteX7" fmla="*/ 1667230 w 3101700"/>
                  <a:gd name="connsiteY7" fmla="*/ 4070745 h 4156470"/>
                  <a:gd name="connsiteX8" fmla="*/ 1570075 w 3101700"/>
                  <a:gd name="connsiteY8" fmla="*/ 4156470 h 4156470"/>
                  <a:gd name="connsiteX9" fmla="*/ 1067155 w 3101700"/>
                  <a:gd name="connsiteY9" fmla="*/ 4156470 h 4156470"/>
                  <a:gd name="connsiteX10" fmla="*/ 970000 w 3101700"/>
                  <a:gd name="connsiteY10" fmla="*/ 4025025 h 4156470"/>
                  <a:gd name="connsiteX11" fmla="*/ 821410 w 3101700"/>
                  <a:gd name="connsiteY11" fmla="*/ 2533410 h 4156470"/>
                  <a:gd name="connsiteX12" fmla="*/ 815695 w 3101700"/>
                  <a:gd name="connsiteY12" fmla="*/ 1298970 h 4156470"/>
                  <a:gd name="connsiteX13" fmla="*/ 604351 w 3101700"/>
                  <a:gd name="connsiteY13" fmla="*/ 1196822 h 4156470"/>
                  <a:gd name="connsiteX14" fmla="*/ 0 w 3101700"/>
                  <a:gd name="connsiteY14" fmla="*/ 165841 h 4156470"/>
                  <a:gd name="connsiteX15" fmla="*/ 114690 w 3101700"/>
                  <a:gd name="connsiteY15" fmla="*/ 44998 h 4156470"/>
                  <a:gd name="connsiteX16" fmla="*/ 985207 w 3101700"/>
                  <a:gd name="connsiteY16" fmla="*/ 899421 h 4156470"/>
                  <a:gd name="connsiteX0" fmla="*/ 1064608 w 3181101"/>
                  <a:gd name="connsiteY0" fmla="*/ 899421 h 4156470"/>
                  <a:gd name="connsiteX1" fmla="*/ 2031382 w 3181101"/>
                  <a:gd name="connsiteY1" fmla="*/ 908243 h 4156470"/>
                  <a:gd name="connsiteX2" fmla="*/ 3181101 w 3181101"/>
                  <a:gd name="connsiteY2" fmla="*/ 1482956 h 4156470"/>
                  <a:gd name="connsiteX3" fmla="*/ 2997114 w 3181101"/>
                  <a:gd name="connsiteY3" fmla="*/ 1644369 h 4156470"/>
                  <a:gd name="connsiteX4" fmla="*/ 2011628 w 3181101"/>
                  <a:gd name="connsiteY4" fmla="*/ 1335367 h 4156470"/>
                  <a:gd name="connsiteX5" fmla="*/ 1900439 w 3181101"/>
                  <a:gd name="connsiteY5" fmla="*/ 1369549 h 4156470"/>
                  <a:gd name="connsiteX6" fmla="*/ 1912366 w 3181101"/>
                  <a:gd name="connsiteY6" fmla="*/ 2584845 h 4156470"/>
                  <a:gd name="connsiteX7" fmla="*/ 1746631 w 3181101"/>
                  <a:gd name="connsiteY7" fmla="*/ 4070745 h 4156470"/>
                  <a:gd name="connsiteX8" fmla="*/ 1649476 w 3181101"/>
                  <a:gd name="connsiteY8" fmla="*/ 4156470 h 4156470"/>
                  <a:gd name="connsiteX9" fmla="*/ 1146556 w 3181101"/>
                  <a:gd name="connsiteY9" fmla="*/ 4156470 h 4156470"/>
                  <a:gd name="connsiteX10" fmla="*/ 1049401 w 3181101"/>
                  <a:gd name="connsiteY10" fmla="*/ 4025025 h 4156470"/>
                  <a:gd name="connsiteX11" fmla="*/ 900811 w 3181101"/>
                  <a:gd name="connsiteY11" fmla="*/ 2533410 h 4156470"/>
                  <a:gd name="connsiteX12" fmla="*/ 895096 w 3181101"/>
                  <a:gd name="connsiteY12" fmla="*/ 1298970 h 4156470"/>
                  <a:gd name="connsiteX13" fmla="*/ 683752 w 3181101"/>
                  <a:gd name="connsiteY13" fmla="*/ 1196822 h 4156470"/>
                  <a:gd name="connsiteX14" fmla="*/ 0 w 3181101"/>
                  <a:gd name="connsiteY14" fmla="*/ 289352 h 4156470"/>
                  <a:gd name="connsiteX15" fmla="*/ 194091 w 3181101"/>
                  <a:gd name="connsiteY15" fmla="*/ 44998 h 4156470"/>
                  <a:gd name="connsiteX16" fmla="*/ 1064608 w 3181101"/>
                  <a:gd name="connsiteY16" fmla="*/ 899421 h 4156470"/>
                  <a:gd name="connsiteX0" fmla="*/ 1202823 w 3319316"/>
                  <a:gd name="connsiteY0" fmla="*/ 1075865 h 4332914"/>
                  <a:gd name="connsiteX1" fmla="*/ 2169597 w 3319316"/>
                  <a:gd name="connsiteY1" fmla="*/ 1084687 h 4332914"/>
                  <a:gd name="connsiteX2" fmla="*/ 3319316 w 3319316"/>
                  <a:gd name="connsiteY2" fmla="*/ 1659400 h 4332914"/>
                  <a:gd name="connsiteX3" fmla="*/ 3135329 w 3319316"/>
                  <a:gd name="connsiteY3" fmla="*/ 1820813 h 4332914"/>
                  <a:gd name="connsiteX4" fmla="*/ 2149843 w 3319316"/>
                  <a:gd name="connsiteY4" fmla="*/ 1511811 h 4332914"/>
                  <a:gd name="connsiteX5" fmla="*/ 2038654 w 3319316"/>
                  <a:gd name="connsiteY5" fmla="*/ 1545993 h 4332914"/>
                  <a:gd name="connsiteX6" fmla="*/ 2050581 w 3319316"/>
                  <a:gd name="connsiteY6" fmla="*/ 2761289 h 4332914"/>
                  <a:gd name="connsiteX7" fmla="*/ 1884846 w 3319316"/>
                  <a:gd name="connsiteY7" fmla="*/ 4247189 h 4332914"/>
                  <a:gd name="connsiteX8" fmla="*/ 1787691 w 3319316"/>
                  <a:gd name="connsiteY8" fmla="*/ 4332914 h 4332914"/>
                  <a:gd name="connsiteX9" fmla="*/ 1284771 w 3319316"/>
                  <a:gd name="connsiteY9" fmla="*/ 4332914 h 4332914"/>
                  <a:gd name="connsiteX10" fmla="*/ 1187616 w 3319316"/>
                  <a:gd name="connsiteY10" fmla="*/ 4201469 h 4332914"/>
                  <a:gd name="connsiteX11" fmla="*/ 1039026 w 3319316"/>
                  <a:gd name="connsiteY11" fmla="*/ 2709854 h 4332914"/>
                  <a:gd name="connsiteX12" fmla="*/ 1033311 w 3319316"/>
                  <a:gd name="connsiteY12" fmla="*/ 1475414 h 4332914"/>
                  <a:gd name="connsiteX13" fmla="*/ 821967 w 3319316"/>
                  <a:gd name="connsiteY13" fmla="*/ 1373266 h 4332914"/>
                  <a:gd name="connsiteX14" fmla="*/ 138215 w 3319316"/>
                  <a:gd name="connsiteY14" fmla="*/ 465796 h 4332914"/>
                  <a:gd name="connsiteX15" fmla="*/ 102926 w 3319316"/>
                  <a:gd name="connsiteY15" fmla="*/ 44999 h 4332914"/>
                  <a:gd name="connsiteX16" fmla="*/ 1202823 w 331931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820813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989309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18224"/>
                  <a:gd name="connsiteY0" fmla="*/ 1075865 h 4332914"/>
                  <a:gd name="connsiteX1" fmla="*/ 2287227 w 3418224"/>
                  <a:gd name="connsiteY1" fmla="*/ 1084687 h 4332914"/>
                  <a:gd name="connsiteX2" fmla="*/ 3418224 w 3418224"/>
                  <a:gd name="connsiteY2" fmla="*/ 1734289 h 4332914"/>
                  <a:gd name="connsiteX3" fmla="*/ 3252959 w 3418224"/>
                  <a:gd name="connsiteY3" fmla="*/ 1989309 h 4332914"/>
                  <a:gd name="connsiteX4" fmla="*/ 2267473 w 3418224"/>
                  <a:gd name="connsiteY4" fmla="*/ 1511811 h 4332914"/>
                  <a:gd name="connsiteX5" fmla="*/ 2156284 w 3418224"/>
                  <a:gd name="connsiteY5" fmla="*/ 1545993 h 4332914"/>
                  <a:gd name="connsiteX6" fmla="*/ 2168211 w 3418224"/>
                  <a:gd name="connsiteY6" fmla="*/ 2761289 h 4332914"/>
                  <a:gd name="connsiteX7" fmla="*/ 2002476 w 3418224"/>
                  <a:gd name="connsiteY7" fmla="*/ 4247189 h 4332914"/>
                  <a:gd name="connsiteX8" fmla="*/ 1905321 w 3418224"/>
                  <a:gd name="connsiteY8" fmla="*/ 4332914 h 4332914"/>
                  <a:gd name="connsiteX9" fmla="*/ 1402401 w 3418224"/>
                  <a:gd name="connsiteY9" fmla="*/ 4332914 h 4332914"/>
                  <a:gd name="connsiteX10" fmla="*/ 1305246 w 3418224"/>
                  <a:gd name="connsiteY10" fmla="*/ 4201469 h 4332914"/>
                  <a:gd name="connsiteX11" fmla="*/ 1156656 w 3418224"/>
                  <a:gd name="connsiteY11" fmla="*/ 2709854 h 4332914"/>
                  <a:gd name="connsiteX12" fmla="*/ 1150941 w 3418224"/>
                  <a:gd name="connsiteY12" fmla="*/ 1475414 h 4332914"/>
                  <a:gd name="connsiteX13" fmla="*/ 939597 w 3418224"/>
                  <a:gd name="connsiteY13" fmla="*/ 1373266 h 4332914"/>
                  <a:gd name="connsiteX14" fmla="*/ 0 w 3418224"/>
                  <a:gd name="connsiteY14" fmla="*/ 201128 h 4332914"/>
                  <a:gd name="connsiteX15" fmla="*/ 220556 w 3418224"/>
                  <a:gd name="connsiteY15" fmla="*/ 44999 h 4332914"/>
                  <a:gd name="connsiteX16" fmla="*/ 1320453 w 3418224"/>
                  <a:gd name="connsiteY16" fmla="*/ 1075865 h 4332914"/>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349089"/>
                  <a:gd name="connsiteY0" fmla="*/ 1089250 h 4346299"/>
                  <a:gd name="connsiteX1" fmla="*/ 2287227 w 3349089"/>
                  <a:gd name="connsiteY1" fmla="*/ 1098072 h 4346299"/>
                  <a:gd name="connsiteX2" fmla="*/ 3173654 w 3349089"/>
                  <a:gd name="connsiteY2" fmla="*/ 157977 h 4346299"/>
                  <a:gd name="connsiteX3" fmla="*/ 3252959 w 3349089"/>
                  <a:gd name="connsiteY3" fmla="*/ 2002694 h 4346299"/>
                  <a:gd name="connsiteX4" fmla="*/ 2267473 w 3349089"/>
                  <a:gd name="connsiteY4" fmla="*/ 1525196 h 4346299"/>
                  <a:gd name="connsiteX5" fmla="*/ 2156284 w 3349089"/>
                  <a:gd name="connsiteY5" fmla="*/ 1559378 h 4346299"/>
                  <a:gd name="connsiteX6" fmla="*/ 2168211 w 3349089"/>
                  <a:gd name="connsiteY6" fmla="*/ 2774674 h 4346299"/>
                  <a:gd name="connsiteX7" fmla="*/ 2002476 w 3349089"/>
                  <a:gd name="connsiteY7" fmla="*/ 4260574 h 4346299"/>
                  <a:gd name="connsiteX8" fmla="*/ 1905321 w 3349089"/>
                  <a:gd name="connsiteY8" fmla="*/ 4346299 h 4346299"/>
                  <a:gd name="connsiteX9" fmla="*/ 1402401 w 3349089"/>
                  <a:gd name="connsiteY9" fmla="*/ 4346299 h 4346299"/>
                  <a:gd name="connsiteX10" fmla="*/ 1305246 w 3349089"/>
                  <a:gd name="connsiteY10" fmla="*/ 4214854 h 4346299"/>
                  <a:gd name="connsiteX11" fmla="*/ 1156656 w 3349089"/>
                  <a:gd name="connsiteY11" fmla="*/ 2723239 h 4346299"/>
                  <a:gd name="connsiteX12" fmla="*/ 1150941 w 3349089"/>
                  <a:gd name="connsiteY12" fmla="*/ 1488799 h 4346299"/>
                  <a:gd name="connsiteX13" fmla="*/ 939597 w 3349089"/>
                  <a:gd name="connsiteY13" fmla="*/ 1386651 h 4346299"/>
                  <a:gd name="connsiteX14" fmla="*/ 0 w 3349089"/>
                  <a:gd name="connsiteY14" fmla="*/ 214513 h 4346299"/>
                  <a:gd name="connsiteX15" fmla="*/ 220556 w 3349089"/>
                  <a:gd name="connsiteY15" fmla="*/ 58384 h 4346299"/>
                  <a:gd name="connsiteX16" fmla="*/ 1320453 w 3349089"/>
                  <a:gd name="connsiteY16" fmla="*/ 1089250 h 4346299"/>
                  <a:gd name="connsiteX0" fmla="*/ 1320453 w 3401497"/>
                  <a:gd name="connsiteY0" fmla="*/ 1089250 h 4346299"/>
                  <a:gd name="connsiteX1" fmla="*/ 2287227 w 3401497"/>
                  <a:gd name="connsiteY1" fmla="*/ 1098072 h 4346299"/>
                  <a:gd name="connsiteX2" fmla="*/ 3173654 w 3401497"/>
                  <a:gd name="connsiteY2" fmla="*/ 157977 h 4346299"/>
                  <a:gd name="connsiteX3" fmla="*/ 3305367 w 3401497"/>
                  <a:gd name="connsiteY3" fmla="*/ 325650 h 4346299"/>
                  <a:gd name="connsiteX4" fmla="*/ 2267473 w 3401497"/>
                  <a:gd name="connsiteY4" fmla="*/ 1525196 h 4346299"/>
                  <a:gd name="connsiteX5" fmla="*/ 2156284 w 3401497"/>
                  <a:gd name="connsiteY5" fmla="*/ 1559378 h 4346299"/>
                  <a:gd name="connsiteX6" fmla="*/ 2168211 w 3401497"/>
                  <a:gd name="connsiteY6" fmla="*/ 2774674 h 4346299"/>
                  <a:gd name="connsiteX7" fmla="*/ 2002476 w 3401497"/>
                  <a:gd name="connsiteY7" fmla="*/ 4260574 h 4346299"/>
                  <a:gd name="connsiteX8" fmla="*/ 1905321 w 3401497"/>
                  <a:gd name="connsiteY8" fmla="*/ 4346299 h 4346299"/>
                  <a:gd name="connsiteX9" fmla="*/ 1402401 w 3401497"/>
                  <a:gd name="connsiteY9" fmla="*/ 4346299 h 4346299"/>
                  <a:gd name="connsiteX10" fmla="*/ 1305246 w 3401497"/>
                  <a:gd name="connsiteY10" fmla="*/ 4214854 h 4346299"/>
                  <a:gd name="connsiteX11" fmla="*/ 1156656 w 3401497"/>
                  <a:gd name="connsiteY11" fmla="*/ 2723239 h 4346299"/>
                  <a:gd name="connsiteX12" fmla="*/ 1150941 w 3401497"/>
                  <a:gd name="connsiteY12" fmla="*/ 1488799 h 4346299"/>
                  <a:gd name="connsiteX13" fmla="*/ 939597 w 3401497"/>
                  <a:gd name="connsiteY13" fmla="*/ 1386651 h 4346299"/>
                  <a:gd name="connsiteX14" fmla="*/ 0 w 3401497"/>
                  <a:gd name="connsiteY14" fmla="*/ 214513 h 4346299"/>
                  <a:gd name="connsiteX15" fmla="*/ 220556 w 3401497"/>
                  <a:gd name="connsiteY15" fmla="*/ 58384 h 4346299"/>
                  <a:gd name="connsiteX16" fmla="*/ 1320453 w 3401497"/>
                  <a:gd name="connsiteY16" fmla="*/ 1089250 h 4346299"/>
                  <a:gd name="connsiteX0" fmla="*/ 1320453 w 3394509"/>
                  <a:gd name="connsiteY0" fmla="*/ 1089250 h 4346299"/>
                  <a:gd name="connsiteX1" fmla="*/ 2287227 w 3394509"/>
                  <a:gd name="connsiteY1" fmla="*/ 1098072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75864 h 4332913"/>
                  <a:gd name="connsiteX1" fmla="*/ 2143979 w 3394509"/>
                  <a:gd name="connsiteY1" fmla="*/ 1074204 h 4332913"/>
                  <a:gd name="connsiteX2" fmla="*/ 3173654 w 3394509"/>
                  <a:gd name="connsiteY2" fmla="*/ 144591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287897"/>
                  <a:gd name="connsiteY0" fmla="*/ 1075864 h 4332913"/>
                  <a:gd name="connsiteX1" fmla="*/ 2143979 w 3287897"/>
                  <a:gd name="connsiteY1" fmla="*/ 1074204 h 4332913"/>
                  <a:gd name="connsiteX2" fmla="*/ 3117752 w 3287897"/>
                  <a:gd name="connsiteY2" fmla="*/ 137604 h 4332913"/>
                  <a:gd name="connsiteX3" fmla="*/ 3287897 w 3287897"/>
                  <a:gd name="connsiteY3" fmla="*/ 280819 h 4332913"/>
                  <a:gd name="connsiteX4" fmla="*/ 2267473 w 3287897"/>
                  <a:gd name="connsiteY4" fmla="*/ 1511810 h 4332913"/>
                  <a:gd name="connsiteX5" fmla="*/ 2156284 w 3287897"/>
                  <a:gd name="connsiteY5" fmla="*/ 1545992 h 4332913"/>
                  <a:gd name="connsiteX6" fmla="*/ 2168211 w 3287897"/>
                  <a:gd name="connsiteY6" fmla="*/ 2761288 h 4332913"/>
                  <a:gd name="connsiteX7" fmla="*/ 2002476 w 3287897"/>
                  <a:gd name="connsiteY7" fmla="*/ 4247188 h 4332913"/>
                  <a:gd name="connsiteX8" fmla="*/ 1905321 w 3287897"/>
                  <a:gd name="connsiteY8" fmla="*/ 4332913 h 4332913"/>
                  <a:gd name="connsiteX9" fmla="*/ 1402401 w 3287897"/>
                  <a:gd name="connsiteY9" fmla="*/ 4332913 h 4332913"/>
                  <a:gd name="connsiteX10" fmla="*/ 1305246 w 3287897"/>
                  <a:gd name="connsiteY10" fmla="*/ 4201468 h 4332913"/>
                  <a:gd name="connsiteX11" fmla="*/ 1156656 w 3287897"/>
                  <a:gd name="connsiteY11" fmla="*/ 2709853 h 4332913"/>
                  <a:gd name="connsiteX12" fmla="*/ 1150941 w 3287897"/>
                  <a:gd name="connsiteY12" fmla="*/ 1475413 h 4332913"/>
                  <a:gd name="connsiteX13" fmla="*/ 939597 w 3287897"/>
                  <a:gd name="connsiteY13" fmla="*/ 1373265 h 4332913"/>
                  <a:gd name="connsiteX14" fmla="*/ 0 w 3287897"/>
                  <a:gd name="connsiteY14" fmla="*/ 201127 h 4332913"/>
                  <a:gd name="connsiteX15" fmla="*/ 220556 w 3287897"/>
                  <a:gd name="connsiteY15" fmla="*/ 44998 h 4332913"/>
                  <a:gd name="connsiteX16" fmla="*/ 1320453 w 3287897"/>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58204"/>
                  <a:gd name="connsiteY0" fmla="*/ 1075864 h 4332913"/>
                  <a:gd name="connsiteX1" fmla="*/ 2143979 w 3358204"/>
                  <a:gd name="connsiteY1" fmla="*/ 1074204 h 4332913"/>
                  <a:gd name="connsiteX2" fmla="*/ 3117752 w 3358204"/>
                  <a:gd name="connsiteY2" fmla="*/ 137604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358204"/>
                  <a:gd name="connsiteY0" fmla="*/ 1075864 h 4332913"/>
                  <a:gd name="connsiteX1" fmla="*/ 2143979 w 3358204"/>
                  <a:gd name="connsiteY1" fmla="*/ 1074204 h 4332913"/>
                  <a:gd name="connsiteX2" fmla="*/ 3159063 w 3358204"/>
                  <a:gd name="connsiteY2" fmla="*/ 73761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290606"/>
                  <a:gd name="connsiteY0" fmla="*/ 1075864 h 4332913"/>
                  <a:gd name="connsiteX1" fmla="*/ 2143979 w 3290606"/>
                  <a:gd name="connsiteY1" fmla="*/ 1074204 h 4332913"/>
                  <a:gd name="connsiteX2" fmla="*/ 3159063 w 3290606"/>
                  <a:gd name="connsiteY2" fmla="*/ 73761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075864 h 4332913"/>
                  <a:gd name="connsiteX1" fmla="*/ 2143979 w 3290606"/>
                  <a:gd name="connsiteY1" fmla="*/ 1074204 h 4332913"/>
                  <a:gd name="connsiteX2" fmla="*/ 3091465 w 3290606"/>
                  <a:gd name="connsiteY2" fmla="*/ 28695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188528 h 4445577"/>
                  <a:gd name="connsiteX1" fmla="*/ 2143979 w 3290606"/>
                  <a:gd name="connsiteY1" fmla="*/ 1186868 h 4445577"/>
                  <a:gd name="connsiteX2" fmla="*/ 3091465 w 3290606"/>
                  <a:gd name="connsiteY2" fmla="*/ 141359 h 4445577"/>
                  <a:gd name="connsiteX3" fmla="*/ 3290606 w 3290606"/>
                  <a:gd name="connsiteY3" fmla="*/ 237939 h 4445577"/>
                  <a:gd name="connsiteX4" fmla="*/ 2308480 w 3290606"/>
                  <a:gd name="connsiteY4" fmla="*/ 1541011 h 4445577"/>
                  <a:gd name="connsiteX5" fmla="*/ 2156284 w 3290606"/>
                  <a:gd name="connsiteY5" fmla="*/ 1658656 h 4445577"/>
                  <a:gd name="connsiteX6" fmla="*/ 2168211 w 3290606"/>
                  <a:gd name="connsiteY6" fmla="*/ 2873952 h 4445577"/>
                  <a:gd name="connsiteX7" fmla="*/ 2002476 w 3290606"/>
                  <a:gd name="connsiteY7" fmla="*/ 4359852 h 4445577"/>
                  <a:gd name="connsiteX8" fmla="*/ 1905321 w 3290606"/>
                  <a:gd name="connsiteY8" fmla="*/ 4445577 h 4445577"/>
                  <a:gd name="connsiteX9" fmla="*/ 1402401 w 3290606"/>
                  <a:gd name="connsiteY9" fmla="*/ 4445577 h 4445577"/>
                  <a:gd name="connsiteX10" fmla="*/ 1305246 w 3290606"/>
                  <a:gd name="connsiteY10" fmla="*/ 4314132 h 4445577"/>
                  <a:gd name="connsiteX11" fmla="*/ 1156656 w 3290606"/>
                  <a:gd name="connsiteY11" fmla="*/ 2822517 h 4445577"/>
                  <a:gd name="connsiteX12" fmla="*/ 1150941 w 3290606"/>
                  <a:gd name="connsiteY12" fmla="*/ 1588077 h 4445577"/>
                  <a:gd name="connsiteX13" fmla="*/ 939597 w 3290606"/>
                  <a:gd name="connsiteY13" fmla="*/ 1485929 h 4445577"/>
                  <a:gd name="connsiteX14" fmla="*/ 0 w 3290606"/>
                  <a:gd name="connsiteY14" fmla="*/ 313791 h 4445577"/>
                  <a:gd name="connsiteX15" fmla="*/ 382042 w 3290606"/>
                  <a:gd name="connsiteY15" fmla="*/ 44998 h 4445577"/>
                  <a:gd name="connsiteX16" fmla="*/ 1320453 w 3290606"/>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778111 w 3129120"/>
                  <a:gd name="connsiteY13" fmla="*/ 1485929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866135 w 3129120"/>
                  <a:gd name="connsiteY2" fmla="*/ 118827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233594 h 4490643"/>
                  <a:gd name="connsiteX1" fmla="*/ 1982493 w 3129120"/>
                  <a:gd name="connsiteY1" fmla="*/ 1231934 h 4490643"/>
                  <a:gd name="connsiteX2" fmla="*/ 2866135 w 3129120"/>
                  <a:gd name="connsiteY2" fmla="*/ 163893 h 4490643"/>
                  <a:gd name="connsiteX3" fmla="*/ 3129120 w 3129120"/>
                  <a:gd name="connsiteY3" fmla="*/ 283005 h 4490643"/>
                  <a:gd name="connsiteX4" fmla="*/ 2146994 w 3129120"/>
                  <a:gd name="connsiteY4" fmla="*/ 1586077 h 4490643"/>
                  <a:gd name="connsiteX5" fmla="*/ 1994798 w 3129120"/>
                  <a:gd name="connsiteY5" fmla="*/ 1703722 h 4490643"/>
                  <a:gd name="connsiteX6" fmla="*/ 2006725 w 3129120"/>
                  <a:gd name="connsiteY6" fmla="*/ 2919018 h 4490643"/>
                  <a:gd name="connsiteX7" fmla="*/ 1840990 w 3129120"/>
                  <a:gd name="connsiteY7" fmla="*/ 4404918 h 4490643"/>
                  <a:gd name="connsiteX8" fmla="*/ 1743835 w 3129120"/>
                  <a:gd name="connsiteY8" fmla="*/ 4490643 h 4490643"/>
                  <a:gd name="connsiteX9" fmla="*/ 1240915 w 3129120"/>
                  <a:gd name="connsiteY9" fmla="*/ 4490643 h 4490643"/>
                  <a:gd name="connsiteX10" fmla="*/ 1143760 w 3129120"/>
                  <a:gd name="connsiteY10" fmla="*/ 4359198 h 4490643"/>
                  <a:gd name="connsiteX11" fmla="*/ 995170 w 3129120"/>
                  <a:gd name="connsiteY11" fmla="*/ 2867583 h 4490643"/>
                  <a:gd name="connsiteX12" fmla="*/ 989455 w 3129120"/>
                  <a:gd name="connsiteY12" fmla="*/ 1633143 h 4490643"/>
                  <a:gd name="connsiteX13" fmla="*/ 819422 w 3129120"/>
                  <a:gd name="connsiteY13" fmla="*/ 1508462 h 4490643"/>
                  <a:gd name="connsiteX14" fmla="*/ 0 w 3129120"/>
                  <a:gd name="connsiteY14" fmla="*/ 238682 h 4490643"/>
                  <a:gd name="connsiteX15" fmla="*/ 318199 w 3129120"/>
                  <a:gd name="connsiteY15" fmla="*/ 44998 h 4490643"/>
                  <a:gd name="connsiteX16" fmla="*/ 1158967 w 3129120"/>
                  <a:gd name="connsiteY16" fmla="*/ 1233594 h 4490643"/>
                  <a:gd name="connsiteX0" fmla="*/ 1121412 w 3091565"/>
                  <a:gd name="connsiteY0" fmla="*/ 1233594 h 4490643"/>
                  <a:gd name="connsiteX1" fmla="*/ 1944938 w 3091565"/>
                  <a:gd name="connsiteY1" fmla="*/ 1231934 h 4490643"/>
                  <a:gd name="connsiteX2" fmla="*/ 2828580 w 3091565"/>
                  <a:gd name="connsiteY2" fmla="*/ 163893 h 4490643"/>
                  <a:gd name="connsiteX3" fmla="*/ 3091565 w 3091565"/>
                  <a:gd name="connsiteY3" fmla="*/ 283005 h 4490643"/>
                  <a:gd name="connsiteX4" fmla="*/ 2109439 w 3091565"/>
                  <a:gd name="connsiteY4" fmla="*/ 1586077 h 4490643"/>
                  <a:gd name="connsiteX5" fmla="*/ 1957243 w 3091565"/>
                  <a:gd name="connsiteY5" fmla="*/ 1703722 h 4490643"/>
                  <a:gd name="connsiteX6" fmla="*/ 1969170 w 3091565"/>
                  <a:gd name="connsiteY6" fmla="*/ 2919018 h 4490643"/>
                  <a:gd name="connsiteX7" fmla="*/ 1803435 w 3091565"/>
                  <a:gd name="connsiteY7" fmla="*/ 4404918 h 4490643"/>
                  <a:gd name="connsiteX8" fmla="*/ 1706280 w 3091565"/>
                  <a:gd name="connsiteY8" fmla="*/ 4490643 h 4490643"/>
                  <a:gd name="connsiteX9" fmla="*/ 1203360 w 3091565"/>
                  <a:gd name="connsiteY9" fmla="*/ 4490643 h 4490643"/>
                  <a:gd name="connsiteX10" fmla="*/ 1106205 w 3091565"/>
                  <a:gd name="connsiteY10" fmla="*/ 4359198 h 4490643"/>
                  <a:gd name="connsiteX11" fmla="*/ 957615 w 3091565"/>
                  <a:gd name="connsiteY11" fmla="*/ 2867583 h 4490643"/>
                  <a:gd name="connsiteX12" fmla="*/ 951900 w 3091565"/>
                  <a:gd name="connsiteY12" fmla="*/ 1633143 h 4490643"/>
                  <a:gd name="connsiteX13" fmla="*/ 781867 w 3091565"/>
                  <a:gd name="connsiteY13" fmla="*/ 1508462 h 4490643"/>
                  <a:gd name="connsiteX14" fmla="*/ 0 w 3091565"/>
                  <a:gd name="connsiteY14" fmla="*/ 167328 h 4490643"/>
                  <a:gd name="connsiteX15" fmla="*/ 280644 w 3091565"/>
                  <a:gd name="connsiteY15" fmla="*/ 44998 h 4490643"/>
                  <a:gd name="connsiteX16" fmla="*/ 1121412 w 3091565"/>
                  <a:gd name="connsiteY16" fmla="*/ 1233594 h 4490643"/>
                  <a:gd name="connsiteX0" fmla="*/ 1121412 w 3091565"/>
                  <a:gd name="connsiteY0" fmla="*/ 1203551 h 4460600"/>
                  <a:gd name="connsiteX1" fmla="*/ 1944938 w 3091565"/>
                  <a:gd name="connsiteY1" fmla="*/ 1201891 h 4460600"/>
                  <a:gd name="connsiteX2" fmla="*/ 2828580 w 3091565"/>
                  <a:gd name="connsiteY2" fmla="*/ 133850 h 4460600"/>
                  <a:gd name="connsiteX3" fmla="*/ 3091565 w 3091565"/>
                  <a:gd name="connsiteY3" fmla="*/ 252962 h 4460600"/>
                  <a:gd name="connsiteX4" fmla="*/ 2109439 w 3091565"/>
                  <a:gd name="connsiteY4" fmla="*/ 1556034 h 4460600"/>
                  <a:gd name="connsiteX5" fmla="*/ 1957243 w 3091565"/>
                  <a:gd name="connsiteY5" fmla="*/ 1673679 h 4460600"/>
                  <a:gd name="connsiteX6" fmla="*/ 1969170 w 3091565"/>
                  <a:gd name="connsiteY6" fmla="*/ 2888975 h 4460600"/>
                  <a:gd name="connsiteX7" fmla="*/ 1803435 w 3091565"/>
                  <a:gd name="connsiteY7" fmla="*/ 4374875 h 4460600"/>
                  <a:gd name="connsiteX8" fmla="*/ 1706280 w 3091565"/>
                  <a:gd name="connsiteY8" fmla="*/ 4460600 h 4460600"/>
                  <a:gd name="connsiteX9" fmla="*/ 1203360 w 3091565"/>
                  <a:gd name="connsiteY9" fmla="*/ 4460600 h 4460600"/>
                  <a:gd name="connsiteX10" fmla="*/ 1106205 w 3091565"/>
                  <a:gd name="connsiteY10" fmla="*/ 4329155 h 4460600"/>
                  <a:gd name="connsiteX11" fmla="*/ 957615 w 3091565"/>
                  <a:gd name="connsiteY11" fmla="*/ 2837540 h 4460600"/>
                  <a:gd name="connsiteX12" fmla="*/ 951900 w 3091565"/>
                  <a:gd name="connsiteY12" fmla="*/ 1603100 h 4460600"/>
                  <a:gd name="connsiteX13" fmla="*/ 781867 w 3091565"/>
                  <a:gd name="connsiteY13" fmla="*/ 1478419 h 4460600"/>
                  <a:gd name="connsiteX14" fmla="*/ 0 w 3091565"/>
                  <a:gd name="connsiteY14" fmla="*/ 137285 h 4460600"/>
                  <a:gd name="connsiteX15" fmla="*/ 295667 w 3091565"/>
                  <a:gd name="connsiteY15" fmla="*/ 44998 h 4460600"/>
                  <a:gd name="connsiteX16" fmla="*/ 1121412 w 3091565"/>
                  <a:gd name="connsiteY16" fmla="*/ 1203551 h 4460600"/>
                  <a:gd name="connsiteX0" fmla="*/ 1132679 w 3102832"/>
                  <a:gd name="connsiteY0" fmla="*/ 1206353 h 4463402"/>
                  <a:gd name="connsiteX1" fmla="*/ 1956205 w 3102832"/>
                  <a:gd name="connsiteY1" fmla="*/ 1204693 h 4463402"/>
                  <a:gd name="connsiteX2" fmla="*/ 2839847 w 3102832"/>
                  <a:gd name="connsiteY2" fmla="*/ 136652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3102832"/>
                  <a:gd name="connsiteY0" fmla="*/ 1206353 h 4463402"/>
                  <a:gd name="connsiteX1" fmla="*/ 1956205 w 3102832"/>
                  <a:gd name="connsiteY1" fmla="*/ 1204693 h 4463402"/>
                  <a:gd name="connsiteX2" fmla="*/ 2727182 w 3102832"/>
                  <a:gd name="connsiteY2" fmla="*/ 23988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689627 w 2982656"/>
                  <a:gd name="connsiteY2" fmla="*/ 46282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814 h 4463863"/>
                  <a:gd name="connsiteX1" fmla="*/ 1956205 w 2915058"/>
                  <a:gd name="connsiteY1" fmla="*/ 1205154 h 4463863"/>
                  <a:gd name="connsiteX2" fmla="*/ 2689627 w 2915058"/>
                  <a:gd name="connsiteY2" fmla="*/ 43228 h 4463863"/>
                  <a:gd name="connsiteX3" fmla="*/ 2915058 w 2915058"/>
                  <a:gd name="connsiteY3" fmla="*/ 87228 h 4463863"/>
                  <a:gd name="connsiteX4" fmla="*/ 2120706 w 2915058"/>
                  <a:gd name="connsiteY4" fmla="*/ 1559297 h 4463863"/>
                  <a:gd name="connsiteX5" fmla="*/ 1968510 w 2915058"/>
                  <a:gd name="connsiteY5" fmla="*/ 1676942 h 4463863"/>
                  <a:gd name="connsiteX6" fmla="*/ 1980437 w 2915058"/>
                  <a:gd name="connsiteY6" fmla="*/ 2892238 h 4463863"/>
                  <a:gd name="connsiteX7" fmla="*/ 1814702 w 2915058"/>
                  <a:gd name="connsiteY7" fmla="*/ 4378138 h 4463863"/>
                  <a:gd name="connsiteX8" fmla="*/ 1717547 w 2915058"/>
                  <a:gd name="connsiteY8" fmla="*/ 4463863 h 4463863"/>
                  <a:gd name="connsiteX9" fmla="*/ 1214627 w 2915058"/>
                  <a:gd name="connsiteY9" fmla="*/ 4463863 h 4463863"/>
                  <a:gd name="connsiteX10" fmla="*/ 1117472 w 2915058"/>
                  <a:gd name="connsiteY10" fmla="*/ 4332418 h 4463863"/>
                  <a:gd name="connsiteX11" fmla="*/ 968882 w 2915058"/>
                  <a:gd name="connsiteY11" fmla="*/ 2840803 h 4463863"/>
                  <a:gd name="connsiteX12" fmla="*/ 963167 w 2915058"/>
                  <a:gd name="connsiteY12" fmla="*/ 1606363 h 4463863"/>
                  <a:gd name="connsiteX13" fmla="*/ 793134 w 2915058"/>
                  <a:gd name="connsiteY13" fmla="*/ 1481682 h 4463863"/>
                  <a:gd name="connsiteX14" fmla="*/ 0 w 2915058"/>
                  <a:gd name="connsiteY14" fmla="*/ 114260 h 4463863"/>
                  <a:gd name="connsiteX15" fmla="*/ 306934 w 2915058"/>
                  <a:gd name="connsiteY15" fmla="*/ 48261 h 4463863"/>
                  <a:gd name="connsiteX16" fmla="*/ 1132679 w 2915058"/>
                  <a:gd name="connsiteY16" fmla="*/ 1206814 h 4463863"/>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083368 w 2915058"/>
                  <a:gd name="connsiteY0" fmla="*/ 1197761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85044 w 2915058"/>
                  <a:gd name="connsiteY5" fmla="*/ 1651403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058" h="4446592">
                    <a:moveTo>
                      <a:pt x="1083368" y="1197761"/>
                    </a:moveTo>
                    <a:cubicBezTo>
                      <a:pt x="1417389" y="1191879"/>
                      <a:pt x="1678456" y="1157919"/>
                      <a:pt x="1906609" y="1196148"/>
                    </a:cubicBezTo>
                    <a:cubicBezTo>
                      <a:pt x="2016195" y="1139720"/>
                      <a:pt x="2572084" y="95080"/>
                      <a:pt x="2689627" y="25957"/>
                    </a:cubicBezTo>
                    <a:cubicBezTo>
                      <a:pt x="2692709" y="-17271"/>
                      <a:pt x="2895890" y="-9058"/>
                      <a:pt x="2915058" y="69957"/>
                    </a:cubicBezTo>
                    <a:cubicBezTo>
                      <a:pt x="2688864" y="554611"/>
                      <a:pt x="2476394" y="1141150"/>
                      <a:pt x="2120706" y="1542026"/>
                    </a:cubicBezTo>
                    <a:cubicBezTo>
                      <a:pt x="2059970" y="1591567"/>
                      <a:pt x="2082200" y="1588830"/>
                      <a:pt x="1985044" y="1651403"/>
                    </a:cubicBezTo>
                    <a:cubicBezTo>
                      <a:pt x="1983508" y="2059258"/>
                      <a:pt x="1981973" y="2467112"/>
                      <a:pt x="1980437" y="2874967"/>
                    </a:cubicBezTo>
                    <a:lnTo>
                      <a:pt x="1814702" y="4360867"/>
                    </a:lnTo>
                    <a:cubicBezTo>
                      <a:pt x="1810892" y="4395157"/>
                      <a:pt x="1755647" y="4446592"/>
                      <a:pt x="1717547" y="4446592"/>
                    </a:cubicBezTo>
                    <a:lnTo>
                      <a:pt x="1214627" y="4446592"/>
                    </a:lnTo>
                    <a:cubicBezTo>
                      <a:pt x="1159382" y="4442782"/>
                      <a:pt x="1121282" y="4370392"/>
                      <a:pt x="1117472" y="4315147"/>
                    </a:cubicBezTo>
                    <a:lnTo>
                      <a:pt x="968882" y="2823532"/>
                    </a:lnTo>
                    <a:cubicBezTo>
                      <a:pt x="966977" y="2412052"/>
                      <a:pt x="932195" y="2042790"/>
                      <a:pt x="930290" y="1631310"/>
                    </a:cubicBezTo>
                    <a:cubicBezTo>
                      <a:pt x="827906" y="1534429"/>
                      <a:pt x="844162" y="1516437"/>
                      <a:pt x="793134" y="1464411"/>
                    </a:cubicBezTo>
                    <a:lnTo>
                      <a:pt x="0" y="96989"/>
                    </a:lnTo>
                    <a:cubicBezTo>
                      <a:pt x="14706" y="-16810"/>
                      <a:pt x="204008" y="-14008"/>
                      <a:pt x="306934" y="30990"/>
                    </a:cubicBezTo>
                    <a:cubicBezTo>
                      <a:pt x="487190" y="194785"/>
                      <a:pt x="953828" y="1203476"/>
                      <a:pt x="1083368" y="119776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200" dirty="0" smtClean="0">
                  <a:solidFill>
                    <a:prstClr val="black"/>
                  </a:solidFill>
                </a:endParaRPr>
              </a:p>
            </p:txBody>
          </p:sp>
          <p:sp>
            <p:nvSpPr>
              <p:cNvPr id="13" name="Freeform 217"/>
              <p:cNvSpPr>
                <a:spLocks/>
              </p:cNvSpPr>
              <p:nvPr/>
            </p:nvSpPr>
            <p:spPr bwMode="auto">
              <a:xfrm rot="10800000">
                <a:off x="5275662" y="419791"/>
                <a:ext cx="258323" cy="271403"/>
              </a:xfrm>
              <a:custGeom>
                <a:avLst/>
                <a:gdLst/>
                <a:ahLst/>
                <a:cxnLst>
                  <a:cxn ang="0">
                    <a:pos x="0" y="84"/>
                  </a:cxn>
                  <a:cxn ang="0">
                    <a:pos x="0" y="84"/>
                  </a:cxn>
                  <a:cxn ang="0">
                    <a:pos x="2" y="104"/>
                  </a:cxn>
                  <a:cxn ang="0">
                    <a:pos x="4" y="122"/>
                  </a:cxn>
                  <a:cxn ang="0">
                    <a:pos x="10" y="136"/>
                  </a:cxn>
                  <a:cxn ang="0">
                    <a:pos x="18" y="148"/>
                  </a:cxn>
                  <a:cxn ang="0">
                    <a:pos x="30" y="156"/>
                  </a:cxn>
                  <a:cxn ang="0">
                    <a:pos x="42" y="162"/>
                  </a:cxn>
                  <a:cxn ang="0">
                    <a:pos x="60" y="166"/>
                  </a:cxn>
                  <a:cxn ang="0">
                    <a:pos x="78" y="166"/>
                  </a:cxn>
                  <a:cxn ang="0">
                    <a:pos x="78" y="166"/>
                  </a:cxn>
                  <a:cxn ang="0">
                    <a:pos x="98" y="166"/>
                  </a:cxn>
                  <a:cxn ang="0">
                    <a:pos x="116" y="162"/>
                  </a:cxn>
                  <a:cxn ang="0">
                    <a:pos x="128" y="156"/>
                  </a:cxn>
                  <a:cxn ang="0">
                    <a:pos x="140" y="148"/>
                  </a:cxn>
                  <a:cxn ang="0">
                    <a:pos x="148" y="136"/>
                  </a:cxn>
                  <a:cxn ang="0">
                    <a:pos x="154" y="122"/>
                  </a:cxn>
                  <a:cxn ang="0">
                    <a:pos x="156" y="104"/>
                  </a:cxn>
                  <a:cxn ang="0">
                    <a:pos x="158" y="84"/>
                  </a:cxn>
                  <a:cxn ang="0">
                    <a:pos x="158" y="84"/>
                  </a:cxn>
                  <a:cxn ang="0">
                    <a:pos x="156" y="62"/>
                  </a:cxn>
                  <a:cxn ang="0">
                    <a:pos x="154" y="46"/>
                  </a:cxn>
                  <a:cxn ang="0">
                    <a:pos x="148" y="30"/>
                  </a:cxn>
                  <a:cxn ang="0">
                    <a:pos x="140" y="20"/>
                  </a:cxn>
                  <a:cxn ang="0">
                    <a:pos x="128" y="10"/>
                  </a:cxn>
                  <a:cxn ang="0">
                    <a:pos x="116" y="4"/>
                  </a:cxn>
                  <a:cxn ang="0">
                    <a:pos x="98" y="2"/>
                  </a:cxn>
                  <a:cxn ang="0">
                    <a:pos x="78" y="0"/>
                  </a:cxn>
                  <a:cxn ang="0">
                    <a:pos x="78" y="0"/>
                  </a:cxn>
                  <a:cxn ang="0">
                    <a:pos x="60" y="2"/>
                  </a:cxn>
                  <a:cxn ang="0">
                    <a:pos x="42" y="4"/>
                  </a:cxn>
                  <a:cxn ang="0">
                    <a:pos x="30" y="10"/>
                  </a:cxn>
                  <a:cxn ang="0">
                    <a:pos x="18" y="20"/>
                  </a:cxn>
                  <a:cxn ang="0">
                    <a:pos x="10" y="30"/>
                  </a:cxn>
                  <a:cxn ang="0">
                    <a:pos x="4" y="46"/>
                  </a:cxn>
                  <a:cxn ang="0">
                    <a:pos x="2" y="62"/>
                  </a:cxn>
                  <a:cxn ang="0">
                    <a:pos x="0" y="84"/>
                  </a:cxn>
                </a:cxnLst>
                <a:rect l="0" t="0" r="r" b="b"/>
                <a:pathLst>
                  <a:path w="158" h="166">
                    <a:moveTo>
                      <a:pt x="0" y="84"/>
                    </a:moveTo>
                    <a:lnTo>
                      <a:pt x="0" y="84"/>
                    </a:lnTo>
                    <a:lnTo>
                      <a:pt x="2" y="104"/>
                    </a:lnTo>
                    <a:lnTo>
                      <a:pt x="4" y="122"/>
                    </a:lnTo>
                    <a:lnTo>
                      <a:pt x="10" y="136"/>
                    </a:lnTo>
                    <a:lnTo>
                      <a:pt x="18" y="148"/>
                    </a:lnTo>
                    <a:lnTo>
                      <a:pt x="30" y="156"/>
                    </a:lnTo>
                    <a:lnTo>
                      <a:pt x="42" y="162"/>
                    </a:lnTo>
                    <a:lnTo>
                      <a:pt x="60" y="166"/>
                    </a:lnTo>
                    <a:lnTo>
                      <a:pt x="78" y="166"/>
                    </a:lnTo>
                    <a:lnTo>
                      <a:pt x="78" y="166"/>
                    </a:lnTo>
                    <a:lnTo>
                      <a:pt x="98" y="166"/>
                    </a:lnTo>
                    <a:lnTo>
                      <a:pt x="116" y="162"/>
                    </a:lnTo>
                    <a:lnTo>
                      <a:pt x="128" y="156"/>
                    </a:lnTo>
                    <a:lnTo>
                      <a:pt x="140" y="148"/>
                    </a:lnTo>
                    <a:lnTo>
                      <a:pt x="148" y="136"/>
                    </a:lnTo>
                    <a:lnTo>
                      <a:pt x="154" y="122"/>
                    </a:lnTo>
                    <a:lnTo>
                      <a:pt x="156" y="104"/>
                    </a:lnTo>
                    <a:lnTo>
                      <a:pt x="158" y="84"/>
                    </a:lnTo>
                    <a:lnTo>
                      <a:pt x="158" y="84"/>
                    </a:lnTo>
                    <a:lnTo>
                      <a:pt x="156" y="62"/>
                    </a:lnTo>
                    <a:lnTo>
                      <a:pt x="154" y="46"/>
                    </a:lnTo>
                    <a:lnTo>
                      <a:pt x="148" y="30"/>
                    </a:lnTo>
                    <a:lnTo>
                      <a:pt x="140" y="20"/>
                    </a:lnTo>
                    <a:lnTo>
                      <a:pt x="128" y="10"/>
                    </a:lnTo>
                    <a:lnTo>
                      <a:pt x="116" y="4"/>
                    </a:lnTo>
                    <a:lnTo>
                      <a:pt x="98" y="2"/>
                    </a:lnTo>
                    <a:lnTo>
                      <a:pt x="78" y="0"/>
                    </a:lnTo>
                    <a:lnTo>
                      <a:pt x="78" y="0"/>
                    </a:lnTo>
                    <a:lnTo>
                      <a:pt x="60" y="2"/>
                    </a:lnTo>
                    <a:lnTo>
                      <a:pt x="42" y="4"/>
                    </a:lnTo>
                    <a:lnTo>
                      <a:pt x="30" y="10"/>
                    </a:lnTo>
                    <a:lnTo>
                      <a:pt x="18" y="20"/>
                    </a:lnTo>
                    <a:lnTo>
                      <a:pt x="10" y="30"/>
                    </a:lnTo>
                    <a:lnTo>
                      <a:pt x="4" y="46"/>
                    </a:lnTo>
                    <a:lnTo>
                      <a:pt x="2" y="62"/>
                    </a:lnTo>
                    <a:lnTo>
                      <a:pt x="0" y="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sz="1050" dirty="0">
                  <a:solidFill>
                    <a:prstClr val="black"/>
                  </a:solidFill>
                </a:endParaRPr>
              </a:p>
            </p:txBody>
          </p:sp>
        </p:grpSp>
        <p:sp>
          <p:nvSpPr>
            <p:cNvPr id="11" name="Freeform 66"/>
            <p:cNvSpPr>
              <a:spLocks noEditPoints="1"/>
            </p:cNvSpPr>
            <p:nvPr/>
          </p:nvSpPr>
          <p:spPr bwMode="auto">
            <a:xfrm>
              <a:off x="2644022" y="4054313"/>
              <a:ext cx="258802" cy="123579"/>
            </a:xfrm>
            <a:custGeom>
              <a:avLst/>
              <a:gdLst/>
              <a:ahLst/>
              <a:cxnLst>
                <a:cxn ang="0">
                  <a:pos x="180" y="2"/>
                </a:cxn>
                <a:cxn ang="0">
                  <a:pos x="122" y="16"/>
                </a:cxn>
                <a:cxn ang="0">
                  <a:pos x="72" y="46"/>
                </a:cxn>
                <a:cxn ang="0">
                  <a:pos x="34" y="88"/>
                </a:cxn>
                <a:cxn ang="0">
                  <a:pos x="8" y="142"/>
                </a:cxn>
                <a:cxn ang="0">
                  <a:pos x="0" y="200"/>
                </a:cxn>
                <a:cxn ang="0">
                  <a:pos x="4" y="242"/>
                </a:cxn>
                <a:cxn ang="0">
                  <a:pos x="24" y="296"/>
                </a:cxn>
                <a:cxn ang="0">
                  <a:pos x="58" y="342"/>
                </a:cxn>
                <a:cxn ang="0">
                  <a:pos x="104" y="378"/>
                </a:cxn>
                <a:cxn ang="0">
                  <a:pos x="160" y="398"/>
                </a:cxn>
                <a:cxn ang="0">
                  <a:pos x="200" y="402"/>
                </a:cxn>
                <a:cxn ang="0">
                  <a:pos x="260" y="392"/>
                </a:cxn>
                <a:cxn ang="0">
                  <a:pos x="312" y="368"/>
                </a:cxn>
                <a:cxn ang="0">
                  <a:pos x="354" y="328"/>
                </a:cxn>
                <a:cxn ang="0">
                  <a:pos x="384" y="280"/>
                </a:cxn>
                <a:cxn ang="0">
                  <a:pos x="398" y="222"/>
                </a:cxn>
                <a:cxn ang="0">
                  <a:pos x="398" y="180"/>
                </a:cxn>
                <a:cxn ang="0">
                  <a:pos x="384" y="122"/>
                </a:cxn>
                <a:cxn ang="0">
                  <a:pos x="354" y="74"/>
                </a:cxn>
                <a:cxn ang="0">
                  <a:pos x="312" y="34"/>
                </a:cxn>
                <a:cxn ang="0">
                  <a:pos x="260" y="10"/>
                </a:cxn>
                <a:cxn ang="0">
                  <a:pos x="200" y="0"/>
                </a:cxn>
                <a:cxn ang="0">
                  <a:pos x="200" y="368"/>
                </a:cxn>
                <a:cxn ang="0">
                  <a:pos x="150" y="360"/>
                </a:cxn>
                <a:cxn ang="0">
                  <a:pos x="106" y="338"/>
                </a:cxn>
                <a:cxn ang="0">
                  <a:pos x="72" y="306"/>
                </a:cxn>
                <a:cxn ang="0">
                  <a:pos x="46" y="266"/>
                </a:cxn>
                <a:cxn ang="0">
                  <a:pos x="34" y="218"/>
                </a:cxn>
                <a:cxn ang="0">
                  <a:pos x="34" y="184"/>
                </a:cxn>
                <a:cxn ang="0">
                  <a:pos x="46" y="136"/>
                </a:cxn>
                <a:cxn ang="0">
                  <a:pos x="72" y="96"/>
                </a:cxn>
                <a:cxn ang="0">
                  <a:pos x="106" y="64"/>
                </a:cxn>
                <a:cxn ang="0">
                  <a:pos x="150" y="42"/>
                </a:cxn>
                <a:cxn ang="0">
                  <a:pos x="200" y="34"/>
                </a:cxn>
                <a:cxn ang="0">
                  <a:pos x="234" y="38"/>
                </a:cxn>
                <a:cxn ang="0">
                  <a:pos x="278" y="54"/>
                </a:cxn>
                <a:cxn ang="0">
                  <a:pos x="318" y="84"/>
                </a:cxn>
                <a:cxn ang="0">
                  <a:pos x="346" y="122"/>
                </a:cxn>
                <a:cxn ang="0">
                  <a:pos x="362" y="168"/>
                </a:cxn>
                <a:cxn ang="0">
                  <a:pos x="366" y="200"/>
                </a:cxn>
                <a:cxn ang="0">
                  <a:pos x="358" y="250"/>
                </a:cxn>
                <a:cxn ang="0">
                  <a:pos x="338" y="294"/>
                </a:cxn>
                <a:cxn ang="0">
                  <a:pos x="306" y="330"/>
                </a:cxn>
                <a:cxn ang="0">
                  <a:pos x="264" y="354"/>
                </a:cxn>
                <a:cxn ang="0">
                  <a:pos x="216" y="366"/>
                </a:cxn>
              </a:cxnLst>
              <a:rect l="0" t="0" r="r" b="b"/>
              <a:pathLst>
                <a:path w="400" h="402">
                  <a:moveTo>
                    <a:pt x="200" y="0"/>
                  </a:moveTo>
                  <a:lnTo>
                    <a:pt x="200" y="0"/>
                  </a:lnTo>
                  <a:lnTo>
                    <a:pt x="180" y="2"/>
                  </a:lnTo>
                  <a:lnTo>
                    <a:pt x="160" y="4"/>
                  </a:lnTo>
                  <a:lnTo>
                    <a:pt x="140" y="10"/>
                  </a:lnTo>
                  <a:lnTo>
                    <a:pt x="122" y="16"/>
                  </a:lnTo>
                  <a:lnTo>
                    <a:pt x="104" y="24"/>
                  </a:lnTo>
                  <a:lnTo>
                    <a:pt x="88" y="34"/>
                  </a:lnTo>
                  <a:lnTo>
                    <a:pt x="72" y="46"/>
                  </a:lnTo>
                  <a:lnTo>
                    <a:pt x="58" y="60"/>
                  </a:lnTo>
                  <a:lnTo>
                    <a:pt x="44" y="74"/>
                  </a:lnTo>
                  <a:lnTo>
                    <a:pt x="34" y="88"/>
                  </a:lnTo>
                  <a:lnTo>
                    <a:pt x="24" y="106"/>
                  </a:lnTo>
                  <a:lnTo>
                    <a:pt x="14" y="122"/>
                  </a:lnTo>
                  <a:lnTo>
                    <a:pt x="8" y="142"/>
                  </a:lnTo>
                  <a:lnTo>
                    <a:pt x="4" y="160"/>
                  </a:lnTo>
                  <a:lnTo>
                    <a:pt x="0" y="180"/>
                  </a:lnTo>
                  <a:lnTo>
                    <a:pt x="0" y="200"/>
                  </a:lnTo>
                  <a:lnTo>
                    <a:pt x="0" y="200"/>
                  </a:lnTo>
                  <a:lnTo>
                    <a:pt x="0" y="222"/>
                  </a:lnTo>
                  <a:lnTo>
                    <a:pt x="4" y="242"/>
                  </a:lnTo>
                  <a:lnTo>
                    <a:pt x="8" y="260"/>
                  </a:lnTo>
                  <a:lnTo>
                    <a:pt x="14" y="280"/>
                  </a:lnTo>
                  <a:lnTo>
                    <a:pt x="24" y="296"/>
                  </a:lnTo>
                  <a:lnTo>
                    <a:pt x="34" y="314"/>
                  </a:lnTo>
                  <a:lnTo>
                    <a:pt x="44" y="328"/>
                  </a:lnTo>
                  <a:lnTo>
                    <a:pt x="58" y="342"/>
                  </a:lnTo>
                  <a:lnTo>
                    <a:pt x="72" y="356"/>
                  </a:lnTo>
                  <a:lnTo>
                    <a:pt x="88" y="368"/>
                  </a:lnTo>
                  <a:lnTo>
                    <a:pt x="104" y="378"/>
                  </a:lnTo>
                  <a:lnTo>
                    <a:pt x="122" y="386"/>
                  </a:lnTo>
                  <a:lnTo>
                    <a:pt x="140" y="392"/>
                  </a:lnTo>
                  <a:lnTo>
                    <a:pt x="160" y="398"/>
                  </a:lnTo>
                  <a:lnTo>
                    <a:pt x="180" y="400"/>
                  </a:lnTo>
                  <a:lnTo>
                    <a:pt x="200" y="402"/>
                  </a:lnTo>
                  <a:lnTo>
                    <a:pt x="200" y="402"/>
                  </a:lnTo>
                  <a:lnTo>
                    <a:pt x="220" y="400"/>
                  </a:lnTo>
                  <a:lnTo>
                    <a:pt x="240" y="398"/>
                  </a:lnTo>
                  <a:lnTo>
                    <a:pt x="260" y="392"/>
                  </a:lnTo>
                  <a:lnTo>
                    <a:pt x="278" y="386"/>
                  </a:lnTo>
                  <a:lnTo>
                    <a:pt x="296" y="378"/>
                  </a:lnTo>
                  <a:lnTo>
                    <a:pt x="312" y="368"/>
                  </a:lnTo>
                  <a:lnTo>
                    <a:pt x="328" y="356"/>
                  </a:lnTo>
                  <a:lnTo>
                    <a:pt x="342" y="342"/>
                  </a:lnTo>
                  <a:lnTo>
                    <a:pt x="354" y="328"/>
                  </a:lnTo>
                  <a:lnTo>
                    <a:pt x="366" y="314"/>
                  </a:lnTo>
                  <a:lnTo>
                    <a:pt x="376" y="296"/>
                  </a:lnTo>
                  <a:lnTo>
                    <a:pt x="384" y="280"/>
                  </a:lnTo>
                  <a:lnTo>
                    <a:pt x="390" y="260"/>
                  </a:lnTo>
                  <a:lnTo>
                    <a:pt x="396" y="242"/>
                  </a:lnTo>
                  <a:lnTo>
                    <a:pt x="398" y="222"/>
                  </a:lnTo>
                  <a:lnTo>
                    <a:pt x="400" y="200"/>
                  </a:lnTo>
                  <a:lnTo>
                    <a:pt x="400" y="200"/>
                  </a:lnTo>
                  <a:lnTo>
                    <a:pt x="398" y="180"/>
                  </a:lnTo>
                  <a:lnTo>
                    <a:pt x="396" y="160"/>
                  </a:lnTo>
                  <a:lnTo>
                    <a:pt x="390" y="142"/>
                  </a:lnTo>
                  <a:lnTo>
                    <a:pt x="384" y="122"/>
                  </a:lnTo>
                  <a:lnTo>
                    <a:pt x="376" y="106"/>
                  </a:lnTo>
                  <a:lnTo>
                    <a:pt x="366" y="88"/>
                  </a:lnTo>
                  <a:lnTo>
                    <a:pt x="354" y="74"/>
                  </a:lnTo>
                  <a:lnTo>
                    <a:pt x="342" y="60"/>
                  </a:lnTo>
                  <a:lnTo>
                    <a:pt x="328" y="46"/>
                  </a:lnTo>
                  <a:lnTo>
                    <a:pt x="312" y="34"/>
                  </a:lnTo>
                  <a:lnTo>
                    <a:pt x="296" y="24"/>
                  </a:lnTo>
                  <a:lnTo>
                    <a:pt x="278" y="16"/>
                  </a:lnTo>
                  <a:lnTo>
                    <a:pt x="260" y="10"/>
                  </a:lnTo>
                  <a:lnTo>
                    <a:pt x="240" y="4"/>
                  </a:lnTo>
                  <a:lnTo>
                    <a:pt x="220" y="2"/>
                  </a:lnTo>
                  <a:lnTo>
                    <a:pt x="200" y="0"/>
                  </a:lnTo>
                  <a:lnTo>
                    <a:pt x="200" y="0"/>
                  </a:lnTo>
                  <a:close/>
                  <a:moveTo>
                    <a:pt x="200" y="368"/>
                  </a:moveTo>
                  <a:lnTo>
                    <a:pt x="200" y="368"/>
                  </a:lnTo>
                  <a:lnTo>
                    <a:pt x="182" y="366"/>
                  </a:lnTo>
                  <a:lnTo>
                    <a:pt x="166" y="364"/>
                  </a:lnTo>
                  <a:lnTo>
                    <a:pt x="150" y="360"/>
                  </a:lnTo>
                  <a:lnTo>
                    <a:pt x="134" y="354"/>
                  </a:lnTo>
                  <a:lnTo>
                    <a:pt x="120" y="348"/>
                  </a:lnTo>
                  <a:lnTo>
                    <a:pt x="106" y="338"/>
                  </a:lnTo>
                  <a:lnTo>
                    <a:pt x="94" y="330"/>
                  </a:lnTo>
                  <a:lnTo>
                    <a:pt x="82" y="318"/>
                  </a:lnTo>
                  <a:lnTo>
                    <a:pt x="72" y="306"/>
                  </a:lnTo>
                  <a:lnTo>
                    <a:pt x="62" y="294"/>
                  </a:lnTo>
                  <a:lnTo>
                    <a:pt x="54" y="280"/>
                  </a:lnTo>
                  <a:lnTo>
                    <a:pt x="46" y="266"/>
                  </a:lnTo>
                  <a:lnTo>
                    <a:pt x="40" y="250"/>
                  </a:lnTo>
                  <a:lnTo>
                    <a:pt x="36" y="234"/>
                  </a:lnTo>
                  <a:lnTo>
                    <a:pt x="34" y="218"/>
                  </a:lnTo>
                  <a:lnTo>
                    <a:pt x="34" y="200"/>
                  </a:lnTo>
                  <a:lnTo>
                    <a:pt x="34" y="200"/>
                  </a:lnTo>
                  <a:lnTo>
                    <a:pt x="34" y="184"/>
                  </a:lnTo>
                  <a:lnTo>
                    <a:pt x="36" y="168"/>
                  </a:lnTo>
                  <a:lnTo>
                    <a:pt x="40" y="152"/>
                  </a:lnTo>
                  <a:lnTo>
                    <a:pt x="46" y="136"/>
                  </a:lnTo>
                  <a:lnTo>
                    <a:pt x="54" y="122"/>
                  </a:lnTo>
                  <a:lnTo>
                    <a:pt x="62" y="108"/>
                  </a:lnTo>
                  <a:lnTo>
                    <a:pt x="72" y="96"/>
                  </a:lnTo>
                  <a:lnTo>
                    <a:pt x="82" y="84"/>
                  </a:lnTo>
                  <a:lnTo>
                    <a:pt x="94" y="72"/>
                  </a:lnTo>
                  <a:lnTo>
                    <a:pt x="106" y="64"/>
                  </a:lnTo>
                  <a:lnTo>
                    <a:pt x="120" y="54"/>
                  </a:lnTo>
                  <a:lnTo>
                    <a:pt x="134" y="48"/>
                  </a:lnTo>
                  <a:lnTo>
                    <a:pt x="150" y="42"/>
                  </a:lnTo>
                  <a:lnTo>
                    <a:pt x="166" y="38"/>
                  </a:lnTo>
                  <a:lnTo>
                    <a:pt x="182" y="36"/>
                  </a:lnTo>
                  <a:lnTo>
                    <a:pt x="200" y="34"/>
                  </a:lnTo>
                  <a:lnTo>
                    <a:pt x="200" y="34"/>
                  </a:lnTo>
                  <a:lnTo>
                    <a:pt x="216" y="36"/>
                  </a:lnTo>
                  <a:lnTo>
                    <a:pt x="234" y="38"/>
                  </a:lnTo>
                  <a:lnTo>
                    <a:pt x="250" y="42"/>
                  </a:lnTo>
                  <a:lnTo>
                    <a:pt x="264" y="48"/>
                  </a:lnTo>
                  <a:lnTo>
                    <a:pt x="278" y="54"/>
                  </a:lnTo>
                  <a:lnTo>
                    <a:pt x="292" y="64"/>
                  </a:lnTo>
                  <a:lnTo>
                    <a:pt x="306" y="72"/>
                  </a:lnTo>
                  <a:lnTo>
                    <a:pt x="318" y="84"/>
                  </a:lnTo>
                  <a:lnTo>
                    <a:pt x="328" y="96"/>
                  </a:lnTo>
                  <a:lnTo>
                    <a:pt x="338" y="108"/>
                  </a:lnTo>
                  <a:lnTo>
                    <a:pt x="346" y="122"/>
                  </a:lnTo>
                  <a:lnTo>
                    <a:pt x="352" y="136"/>
                  </a:lnTo>
                  <a:lnTo>
                    <a:pt x="358" y="152"/>
                  </a:lnTo>
                  <a:lnTo>
                    <a:pt x="362" y="168"/>
                  </a:lnTo>
                  <a:lnTo>
                    <a:pt x="366" y="184"/>
                  </a:lnTo>
                  <a:lnTo>
                    <a:pt x="366" y="200"/>
                  </a:lnTo>
                  <a:lnTo>
                    <a:pt x="366" y="200"/>
                  </a:lnTo>
                  <a:lnTo>
                    <a:pt x="366" y="218"/>
                  </a:lnTo>
                  <a:lnTo>
                    <a:pt x="362" y="234"/>
                  </a:lnTo>
                  <a:lnTo>
                    <a:pt x="358" y="250"/>
                  </a:lnTo>
                  <a:lnTo>
                    <a:pt x="352" y="266"/>
                  </a:lnTo>
                  <a:lnTo>
                    <a:pt x="346" y="280"/>
                  </a:lnTo>
                  <a:lnTo>
                    <a:pt x="338" y="294"/>
                  </a:lnTo>
                  <a:lnTo>
                    <a:pt x="328" y="306"/>
                  </a:lnTo>
                  <a:lnTo>
                    <a:pt x="318" y="318"/>
                  </a:lnTo>
                  <a:lnTo>
                    <a:pt x="306" y="330"/>
                  </a:lnTo>
                  <a:lnTo>
                    <a:pt x="292" y="338"/>
                  </a:lnTo>
                  <a:lnTo>
                    <a:pt x="278" y="348"/>
                  </a:lnTo>
                  <a:lnTo>
                    <a:pt x="264" y="354"/>
                  </a:lnTo>
                  <a:lnTo>
                    <a:pt x="250" y="360"/>
                  </a:lnTo>
                  <a:lnTo>
                    <a:pt x="234" y="364"/>
                  </a:lnTo>
                  <a:lnTo>
                    <a:pt x="216" y="366"/>
                  </a:lnTo>
                  <a:lnTo>
                    <a:pt x="200" y="368"/>
                  </a:lnTo>
                  <a:lnTo>
                    <a:pt x="200" y="368"/>
                  </a:lnTo>
                  <a:close/>
                </a:path>
              </a:pathLst>
            </a:custGeom>
            <a:grpFill/>
            <a:ln w="9525">
              <a:noFill/>
              <a:round/>
              <a:headEnd/>
              <a:tailEnd/>
            </a:ln>
          </p:spPr>
          <p:txBody>
            <a:bodyPr/>
            <a:lstStyle/>
            <a:p>
              <a:pPr defTabSz="457200"/>
              <a:endParaRPr lang="en-US" sz="1400" dirty="0">
                <a:solidFill>
                  <a:prstClr val="black"/>
                </a:solidFill>
              </a:endParaRPr>
            </a:p>
          </p:txBody>
        </p:sp>
      </p:grpSp>
      <p:sp>
        <p:nvSpPr>
          <p:cNvPr id="14" name="Oval 13"/>
          <p:cNvSpPr/>
          <p:nvPr/>
        </p:nvSpPr>
        <p:spPr>
          <a:xfrm>
            <a:off x="6329545" y="1300303"/>
            <a:ext cx="2612574" cy="2615184"/>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pic>
        <p:nvPicPr>
          <p:cNvPr id="15" name="Picture 5" descr="C:\Users\lopezga\Documents\a-FY14\Icons 2014\MIsc_Icons\Certificate_small-usage\Certificate_small-usage_RGB\Certificate_small-usage_RGB_white_NT.png"/>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90113" y="2348296"/>
            <a:ext cx="305023" cy="28634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What will you learn today?</a:t>
            </a:r>
            <a:endParaRPr lang="en-US" dirty="0"/>
          </a:p>
        </p:txBody>
      </p:sp>
    </p:spTree>
    <p:extLst>
      <p:ext uri="{BB962C8B-B14F-4D97-AF65-F5344CB8AC3E}">
        <p14:creationId xmlns:p14="http://schemas.microsoft.com/office/powerpoint/2010/main" val="3156101147"/>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800" b="1" dirty="0" smtClean="0">
                <a:solidFill>
                  <a:prstClr val="white"/>
                </a:solidFill>
                <a:latin typeface="Calibri" panose="020F0502020204030204" pitchFamily="34" charset="0"/>
                <a:cs typeface="Calibri" panose="020F0502020204030204" pitchFamily="34" charset="0"/>
              </a:rPr>
              <a:t>How To Build Responsive SPA Using AngularJS ?</a:t>
            </a:r>
            <a:endParaRPr lang="en-US" sz="48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8749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7200" y="867524"/>
            <a:ext cx="3492522" cy="1661993"/>
          </a:xfrm>
          <a:prstGeom prst="rect">
            <a:avLst/>
          </a:prstGeom>
          <a:noFill/>
        </p:spPr>
        <p:txBody>
          <a:bodyPr wrap="square" rtlCol="0">
            <a:spAutoFit/>
          </a:bodyPr>
          <a:lstStyle/>
          <a:p>
            <a:pPr defTabSz="685783"/>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Steps to create an AngularJS Application</a:t>
            </a:r>
          </a:p>
          <a:p>
            <a:pPr marL="228600" indent="-228600" defTabSz="685783">
              <a:lnSpc>
                <a:spcPct val="150000"/>
              </a:lnSpc>
              <a:buFont typeface="+mj-lt"/>
              <a:buAutoNum type="arabicPeriod"/>
            </a:pP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Include AngularJS</a:t>
            </a:r>
          </a:p>
          <a:p>
            <a:pPr marL="228600" indent="-228600" defTabSz="685783">
              <a:lnSpc>
                <a:spcPct val="150000"/>
              </a:lnSpc>
              <a:buFont typeface="+mj-lt"/>
              <a:buAutoNum type="arabicPeriod"/>
            </a:pP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Bootstrap the App</a:t>
            </a:r>
          </a:p>
          <a:p>
            <a:pPr marL="228600" indent="-228600" defTabSz="685783">
              <a:lnSpc>
                <a:spcPct val="150000"/>
              </a:lnSpc>
              <a:buFont typeface="+mj-lt"/>
              <a:buAutoNum type="arabicPeriod"/>
            </a:pP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Create </a:t>
            </a:r>
            <a:r>
              <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rPr>
              <a:t>the </a:t>
            </a: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Controller</a:t>
            </a:r>
          </a:p>
          <a:p>
            <a:pPr marL="228600" indent="-228600" defTabSz="685783">
              <a:lnSpc>
                <a:spcPct val="150000"/>
              </a:lnSpc>
              <a:buFont typeface="+mj-lt"/>
              <a:buAutoNum type="arabicPeriod"/>
            </a:pP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Create the View</a:t>
            </a:r>
          </a:p>
          <a:p>
            <a:pPr marL="228600" indent="-228600" defTabSz="685783">
              <a:lnSpc>
                <a:spcPct val="150000"/>
              </a:lnSpc>
              <a:buFont typeface="+mj-lt"/>
              <a:buAutoNum type="arabicPeriod"/>
            </a:pPr>
            <a:r>
              <a:rPr lang="en-IN"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Run the Application</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5"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a:t>AngularJS: Your first program</a:t>
            </a:r>
          </a:p>
        </p:txBody>
      </p:sp>
      <p:pic>
        <p:nvPicPr>
          <p:cNvPr id="6" name="Picture 5"/>
          <p:cNvPicPr>
            <a:picLocks noChangeAspect="1"/>
          </p:cNvPicPr>
          <p:nvPr/>
        </p:nvPicPr>
        <p:blipFill>
          <a:blip r:embed="rId2"/>
          <a:stretch>
            <a:fillRect/>
          </a:stretch>
        </p:blipFill>
        <p:spPr>
          <a:xfrm>
            <a:off x="2297746" y="1246023"/>
            <a:ext cx="6527483" cy="2566988"/>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125754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800" b="1" dirty="0" smtClean="0">
                <a:solidFill>
                  <a:prstClr val="white"/>
                </a:solidFill>
                <a:latin typeface="Calibri" panose="020F0502020204030204" pitchFamily="34" charset="0"/>
                <a:cs typeface="Calibri" panose="020F0502020204030204" pitchFamily="34" charset="0"/>
              </a:rPr>
              <a:t>  Demo</a:t>
            </a:r>
            <a:endParaRPr lang="en-US" sz="48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823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sz="2550" smtClean="0"/>
              <a:t>Building Highly Responsive Single Page Application </a:t>
            </a:r>
            <a:endParaRPr lang="en-US" sz="2550"/>
          </a:p>
        </p:txBody>
      </p:sp>
      <p:sp>
        <p:nvSpPr>
          <p:cNvPr id="3" name="Content Placeholder 2"/>
          <p:cNvSpPr txBox="1">
            <a:spLocks/>
          </p:cNvSpPr>
          <p:nvPr/>
        </p:nvSpPr>
        <p:spPr>
          <a:xfrm>
            <a:off x="457200" y="780670"/>
            <a:ext cx="8297186" cy="4061673"/>
          </a:xfrm>
          <a:prstGeom prst="rect">
            <a:avLst/>
          </a:prstGeom>
        </p:spPr>
        <p:txBody>
          <a:bodyPr>
            <a:normAutofit lnSpcReduction="10000"/>
          </a:bodyPr>
          <a:lst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IN" smtClean="0">
                <a:solidFill>
                  <a:srgbClr val="0070C0"/>
                </a:solidFill>
              </a:rPr>
              <a:t>Usecase </a:t>
            </a:r>
            <a:r>
              <a:rPr lang="en-IN" smtClean="0"/>
              <a:t>: Build a User Management Application</a:t>
            </a:r>
          </a:p>
          <a:p>
            <a:pPr algn="l"/>
            <a:r>
              <a:rPr lang="en-IN" smtClean="0">
                <a:solidFill>
                  <a:srgbClr val="0070C0"/>
                </a:solidFill>
              </a:rPr>
              <a:t>Prerequisite</a:t>
            </a:r>
            <a:r>
              <a:rPr lang="en-IN" smtClean="0"/>
              <a:t> :</a:t>
            </a:r>
          </a:p>
          <a:p>
            <a:pPr lvl="1" algn="l"/>
            <a:r>
              <a:rPr lang="en-IN" smtClean="0"/>
              <a:t>Text Editor (sublime or notepadd ++)</a:t>
            </a:r>
          </a:p>
          <a:p>
            <a:pPr lvl="1" algn="l"/>
            <a:r>
              <a:rPr lang="en-IN" smtClean="0"/>
              <a:t>Latest browser (Firefox or Chrome)</a:t>
            </a:r>
          </a:p>
          <a:p>
            <a:pPr lvl="1" algn="l"/>
            <a:r>
              <a:rPr lang="en-IN" smtClean="0"/>
              <a:t>Installed NodeJS (server)</a:t>
            </a:r>
          </a:p>
          <a:p>
            <a:pPr lvl="1" algn="l"/>
            <a:r>
              <a:rPr lang="en-IN" smtClean="0"/>
              <a:t>Mongo (To store userinfo)</a:t>
            </a:r>
          </a:p>
          <a:p>
            <a:r>
              <a:rPr lang="en-IN" smtClean="0">
                <a:solidFill>
                  <a:srgbClr val="0070C0"/>
                </a:solidFill>
              </a:rPr>
              <a:t>Project</a:t>
            </a:r>
            <a:r>
              <a:rPr lang="en-IN" smtClean="0"/>
              <a:t> </a:t>
            </a:r>
            <a:r>
              <a:rPr lang="en-IN" smtClean="0">
                <a:solidFill>
                  <a:srgbClr val="0070C0"/>
                </a:solidFill>
              </a:rPr>
              <a:t>Specifications</a:t>
            </a:r>
            <a:r>
              <a:rPr lang="en-IN" smtClean="0"/>
              <a:t> :</a:t>
            </a:r>
          </a:p>
          <a:p>
            <a:pPr lvl="1"/>
            <a:r>
              <a:rPr lang="en-IN" smtClean="0"/>
              <a:t>Login to the Application</a:t>
            </a:r>
          </a:p>
          <a:p>
            <a:pPr lvl="1"/>
            <a:r>
              <a:rPr lang="en-IN" smtClean="0"/>
              <a:t>Create a new user</a:t>
            </a:r>
          </a:p>
          <a:p>
            <a:pPr lvl="1"/>
            <a:r>
              <a:rPr lang="en-IN" smtClean="0"/>
              <a:t>View Users List</a:t>
            </a:r>
          </a:p>
          <a:p>
            <a:pPr lvl="1"/>
            <a:r>
              <a:rPr lang="en-IN" smtClean="0"/>
              <a:t>Update a existing user</a:t>
            </a:r>
          </a:p>
          <a:p>
            <a:pPr lvl="1"/>
            <a:r>
              <a:rPr lang="en-IN" smtClean="0"/>
              <a:t>Delete user</a:t>
            </a:r>
          </a:p>
          <a:p>
            <a:pPr lvl="1"/>
            <a:r>
              <a:rPr lang="en-IN" smtClean="0"/>
              <a:t>Signout</a:t>
            </a:r>
          </a:p>
          <a:p>
            <a:pPr algn="l"/>
            <a:endParaRPr lang="en-IN"/>
          </a:p>
        </p:txBody>
      </p:sp>
    </p:spTree>
    <p:extLst>
      <p:ext uri="{BB962C8B-B14F-4D97-AF65-F5344CB8AC3E}">
        <p14:creationId xmlns:p14="http://schemas.microsoft.com/office/powerpoint/2010/main" val="1234607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Elbow Connector 3"/>
          <p:cNvCxnSpPr>
            <a:stCxn id="7" idx="2"/>
            <a:endCxn id="14" idx="1"/>
          </p:cNvCxnSpPr>
          <p:nvPr/>
        </p:nvCxnSpPr>
        <p:spPr>
          <a:xfrm rot="16200000" flipH="1">
            <a:off x="2742945" y="3238040"/>
            <a:ext cx="1509409" cy="1054757"/>
          </a:xfrm>
          <a:prstGeom prst="bentConnector2">
            <a:avLst/>
          </a:prstGeom>
          <a:ln w="15875"/>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548450" y="1653702"/>
            <a:ext cx="1875686" cy="1357013"/>
            <a:chOff x="1392808" y="642026"/>
            <a:chExt cx="3994368" cy="3156630"/>
          </a:xfrm>
        </p:grpSpPr>
        <p:sp>
          <p:nvSpPr>
            <p:cNvPr id="6" name="Rounded Rectangle 5"/>
            <p:cNvSpPr/>
            <p:nvPr/>
          </p:nvSpPr>
          <p:spPr>
            <a:xfrm>
              <a:off x="1429966" y="2347369"/>
              <a:ext cx="1682885" cy="492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smtClean="0"/>
                <a:t>SPA</a:t>
              </a:r>
              <a:endParaRPr lang="en-US" sz="1000" dirty="0"/>
            </a:p>
          </p:txBody>
        </p:sp>
        <p:sp>
          <p:nvSpPr>
            <p:cNvPr id="7" name="Rounded Rectangle 6"/>
            <p:cNvSpPr/>
            <p:nvPr/>
          </p:nvSpPr>
          <p:spPr>
            <a:xfrm>
              <a:off x="3611629" y="3289575"/>
              <a:ext cx="1618034" cy="50908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smtClean="0"/>
                <a:t>AngularJS</a:t>
              </a:r>
              <a:endParaRPr lang="en-US" sz="1000" dirty="0"/>
            </a:p>
          </p:txBody>
        </p:sp>
        <p:cxnSp>
          <p:nvCxnSpPr>
            <p:cNvPr id="8" name="Elbow Connector 7"/>
            <p:cNvCxnSpPr>
              <a:stCxn id="6" idx="2"/>
              <a:endCxn id="7" idx="1"/>
            </p:cNvCxnSpPr>
            <p:nvPr/>
          </p:nvCxnSpPr>
          <p:spPr>
            <a:xfrm rot="16200000" flipH="1">
              <a:off x="2589580" y="2522066"/>
              <a:ext cx="703879" cy="1340220"/>
            </a:xfrm>
            <a:prstGeom prst="bentConnector2">
              <a:avLst/>
            </a:prstGeom>
            <a:ln w="15875"/>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6731" y="642026"/>
              <a:ext cx="1781584" cy="1781584"/>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2808" y="1725885"/>
              <a:ext cx="659728" cy="658813"/>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89955" y="2502472"/>
              <a:ext cx="811532" cy="810406"/>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92483" y="2347369"/>
              <a:ext cx="994693" cy="994693"/>
            </a:xfrm>
            <a:prstGeom prst="rect">
              <a:avLst/>
            </a:prstGeom>
          </p:spPr>
        </p:pic>
      </p:gr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85200" y="3445221"/>
            <a:ext cx="929465" cy="928176"/>
          </a:xfrm>
          <a:prstGeom prst="rect">
            <a:avLst/>
          </a:prstGeom>
        </p:spPr>
      </p:pic>
      <p:sp>
        <p:nvSpPr>
          <p:cNvPr id="14" name="Rounded Rectangle 13"/>
          <p:cNvSpPr/>
          <p:nvPr/>
        </p:nvSpPr>
        <p:spPr>
          <a:xfrm>
            <a:off x="4025028" y="4263962"/>
            <a:ext cx="1699098" cy="51232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err="1" smtClean="0"/>
              <a:t>TakeAway</a:t>
            </a:r>
            <a:endParaRPr lang="en-US" b="1" dirty="0"/>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34308" y="700391"/>
            <a:ext cx="3007385" cy="3007385"/>
          </a:xfrm>
          <a:prstGeom prst="rect">
            <a:avLst/>
          </a:prstGeom>
        </p:spPr>
      </p:pic>
      <p:sp>
        <p:nvSpPr>
          <p:cNvPr id="16"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err="1" smtClean="0"/>
              <a:t>TakeAways</a:t>
            </a:r>
            <a:endParaRPr lang="en-US" dirty="0"/>
          </a:p>
        </p:txBody>
      </p:sp>
    </p:spTree>
    <p:extLst>
      <p:ext uri="{BB962C8B-B14F-4D97-AF65-F5344CB8AC3E}">
        <p14:creationId xmlns:p14="http://schemas.microsoft.com/office/powerpoint/2010/main" val="924765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2563" y="81240"/>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latin typeface="Calibri" panose="020F0502020204030204" pitchFamily="34" charset="0"/>
              </a:rPr>
              <a:t>Certifications </a:t>
            </a:r>
            <a:endParaRPr lang="en-US" sz="2400" dirty="0">
              <a:latin typeface="Calibri" pitchFamily="34" charset="0"/>
              <a:cs typeface="Calibri" panose="020F0502020204030204" pitchFamily="34" charset="0"/>
            </a:endParaRPr>
          </a:p>
        </p:txBody>
      </p:sp>
      <p:sp>
        <p:nvSpPr>
          <p:cNvPr id="4" name="TextBox 3"/>
          <p:cNvSpPr txBox="1"/>
          <p:nvPr/>
        </p:nvSpPr>
        <p:spPr>
          <a:xfrm>
            <a:off x="3394842" y="886705"/>
            <a:ext cx="6531429" cy="307777"/>
          </a:xfrm>
          <a:prstGeom prst="rect">
            <a:avLst/>
          </a:prstGeom>
          <a:noFill/>
        </p:spPr>
        <p:txBody>
          <a:bodyPr wrap="square" rtlCol="0">
            <a:spAutoFit/>
          </a:bodyPr>
          <a:lstStyle/>
          <a:p>
            <a:pPr defTabSz="430213">
              <a:spcAft>
                <a:spcPts val="400"/>
              </a:spcAft>
              <a:buSzPct val="100000"/>
            </a:pPr>
            <a:r>
              <a:rPr lang="en-US" sz="1400" b="1" dirty="0" smtClean="0">
                <a:solidFill>
                  <a:prstClr val="black"/>
                </a:solidFill>
                <a:latin typeface="Calibri" panose="020F0502020204030204" pitchFamily="34" charset="0"/>
              </a:rPr>
              <a:t>Get certified in AngularJS by </a:t>
            </a:r>
            <a:r>
              <a:rPr lang="en-US" sz="1400" b="1" dirty="0" err="1" smtClean="0">
                <a:solidFill>
                  <a:prstClr val="black"/>
                </a:solidFill>
                <a:latin typeface="Calibri" panose="020F0502020204030204" pitchFamily="34" charset="0"/>
              </a:rPr>
              <a:t>Edureka</a:t>
            </a:r>
            <a:endParaRPr lang="en-US" sz="1400" b="1" dirty="0" smtClean="0">
              <a:solidFill>
                <a:srgbClr val="000000"/>
              </a:solidFill>
              <a:latin typeface="Calibri" panose="020F0502020204030204" pitchFamily="34" charset="0"/>
              <a:cs typeface="HP Simplified" pitchFamily="34" charset="0"/>
            </a:endParaRPr>
          </a:p>
        </p:txBody>
      </p:sp>
      <p:sp>
        <p:nvSpPr>
          <p:cNvPr id="5" name="Round Diagonal Corner Rectangle 4"/>
          <p:cNvSpPr/>
          <p:nvPr/>
        </p:nvSpPr>
        <p:spPr>
          <a:xfrm>
            <a:off x="341593" y="2438920"/>
            <a:ext cx="8539760" cy="2240084"/>
          </a:xfrm>
          <a:prstGeom prst="round2Diag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200" b="1" dirty="0" err="1" smtClean="0">
                <a:solidFill>
                  <a:prstClr val="black"/>
                </a:solidFill>
                <a:latin typeface="Calibri" panose="020F0502020204030204" pitchFamily="34" charset="0"/>
              </a:rPr>
              <a:t>Edureka's</a:t>
            </a:r>
            <a:r>
              <a:rPr lang="en-US" sz="1200" b="1" dirty="0">
                <a:solidFill>
                  <a:prstClr val="black"/>
                </a:solidFill>
                <a:latin typeface="Calibri" panose="020F0502020204030204" pitchFamily="34" charset="0"/>
              </a:rPr>
              <a:t> </a:t>
            </a:r>
            <a:r>
              <a:rPr lang="en-US" sz="1200" b="1" dirty="0" smtClean="0">
                <a:solidFill>
                  <a:prstClr val="black"/>
                </a:solidFill>
                <a:latin typeface="Calibri" panose="020F0502020204030204" pitchFamily="34" charset="0"/>
              </a:rPr>
              <a:t>AngularJS course: </a:t>
            </a:r>
          </a:p>
          <a:p>
            <a:pPr marL="285750" indent="-285750" defTabSz="457200">
              <a:buFont typeface="Arial" panose="020B0604020202020204" pitchFamily="34" charset="0"/>
              <a:buChar char="•"/>
            </a:pPr>
            <a:r>
              <a:rPr lang="en-US" sz="1200" dirty="0" smtClean="0">
                <a:solidFill>
                  <a:prstClr val="black"/>
                </a:solidFill>
                <a:latin typeface="Calibri" panose="020F0502020204030204" pitchFamily="34" charset="0"/>
              </a:rPr>
              <a:t>It covers </a:t>
            </a:r>
            <a:r>
              <a:rPr lang="en-US" sz="1200" dirty="0">
                <a:solidFill>
                  <a:prstClr val="black"/>
                </a:solidFill>
                <a:latin typeface="Calibri" panose="020F0502020204030204" pitchFamily="34" charset="0"/>
              </a:rPr>
              <a:t>the fundamental </a:t>
            </a:r>
            <a:r>
              <a:rPr lang="en-US" sz="1200" dirty="0" smtClean="0">
                <a:solidFill>
                  <a:prstClr val="black"/>
                </a:solidFill>
                <a:latin typeface="Calibri" panose="020F0502020204030204" pitchFamily="34" charset="0"/>
              </a:rPr>
              <a:t>concepts </a:t>
            </a:r>
            <a:r>
              <a:rPr lang="en-US" sz="1200" dirty="0">
                <a:solidFill>
                  <a:prstClr val="black"/>
                </a:solidFill>
                <a:latin typeface="Calibri" panose="020F0502020204030204" pitchFamily="34" charset="0"/>
              </a:rPr>
              <a:t>like directives, routes, filters, services and factors which helps to build rich user interface web </a:t>
            </a:r>
            <a:r>
              <a:rPr lang="en-US" sz="1200" dirty="0" smtClean="0">
                <a:solidFill>
                  <a:prstClr val="black"/>
                </a:solidFill>
                <a:latin typeface="Calibri" panose="020F0502020204030204" pitchFamily="34" charset="0"/>
              </a:rPr>
              <a:t>applications in AngularJS.</a:t>
            </a:r>
          </a:p>
          <a:p>
            <a:pPr marL="285750" indent="-285750" defTabSz="457200">
              <a:buFont typeface="Arial" panose="020B0604020202020204" pitchFamily="34" charset="0"/>
              <a:buChar char="•"/>
            </a:pPr>
            <a:r>
              <a:rPr lang="en-US" sz="1200" dirty="0" smtClean="0">
                <a:solidFill>
                  <a:prstClr val="black"/>
                </a:solidFill>
                <a:latin typeface="Calibri" panose="020F0502020204030204" pitchFamily="34" charset="0"/>
              </a:rPr>
              <a:t>It helps you boost </a:t>
            </a:r>
            <a:r>
              <a:rPr lang="en-US" sz="1200" dirty="0">
                <a:solidFill>
                  <a:prstClr val="black"/>
                </a:solidFill>
                <a:latin typeface="Calibri" panose="020F0502020204030204" pitchFamily="34" charset="0"/>
              </a:rPr>
              <a:t>your web development skills and become a sought after SPA (single page application) developer. </a:t>
            </a:r>
            <a:r>
              <a:rPr lang="en-US" sz="1200" dirty="0" smtClean="0">
                <a:solidFill>
                  <a:prstClr val="black"/>
                </a:solidFill>
                <a:latin typeface="Calibri" panose="020F0502020204030204" pitchFamily="34" charset="0"/>
              </a:rPr>
              <a:t>You will learn </a:t>
            </a:r>
            <a:r>
              <a:rPr lang="en-US" sz="1200" dirty="0">
                <a:solidFill>
                  <a:prstClr val="black"/>
                </a:solidFill>
                <a:latin typeface="Calibri" panose="020F0502020204030204" pitchFamily="34" charset="0"/>
              </a:rPr>
              <a:t>the highly efficient Angular features like data binding, scope management, form validation, routing, i18n &amp; lot more. </a:t>
            </a:r>
            <a:endParaRPr lang="en-US" sz="1200" dirty="0" smtClean="0">
              <a:solidFill>
                <a:prstClr val="black"/>
              </a:solidFill>
              <a:latin typeface="Calibri" panose="020F0502020204030204" pitchFamily="34" charset="0"/>
            </a:endParaRPr>
          </a:p>
          <a:p>
            <a:pPr marL="285750" indent="-285750" defTabSz="457200">
              <a:buFont typeface="Arial" panose="020B0604020202020204" pitchFamily="34" charset="0"/>
              <a:buChar char="•"/>
            </a:pPr>
            <a:r>
              <a:rPr lang="en-US" sz="1200" dirty="0">
                <a:solidFill>
                  <a:prstClr val="black"/>
                </a:solidFill>
                <a:latin typeface="Calibri" panose="020F0502020204030204" pitchFamily="34" charset="0"/>
              </a:rPr>
              <a:t>G</a:t>
            </a:r>
            <a:r>
              <a:rPr lang="en-US" sz="1200" dirty="0" smtClean="0">
                <a:solidFill>
                  <a:prstClr val="black"/>
                </a:solidFill>
                <a:latin typeface="Calibri" panose="020F0502020204030204" pitchFamily="34" charset="0"/>
              </a:rPr>
              <a:t>et </a:t>
            </a:r>
            <a:r>
              <a:rPr lang="en-US" sz="1200" dirty="0">
                <a:solidFill>
                  <a:prstClr val="black"/>
                </a:solidFill>
                <a:latin typeface="Calibri" panose="020F0502020204030204" pitchFamily="34" charset="0"/>
              </a:rPr>
              <a:t>to implement an AngularJS mean stack-based project towards the end of the course, which gives you complete insights on the framework along with </a:t>
            </a:r>
            <a:r>
              <a:rPr lang="en-US" sz="1200" dirty="0" err="1">
                <a:solidFill>
                  <a:prstClr val="black"/>
                </a:solidFill>
                <a:latin typeface="Calibri" panose="020F0502020204030204" pitchFamily="34" charset="0"/>
              </a:rPr>
              <a:t>NodeJS</a:t>
            </a:r>
            <a:r>
              <a:rPr lang="en-US" sz="1200" dirty="0">
                <a:solidFill>
                  <a:prstClr val="black"/>
                </a:solidFill>
                <a:latin typeface="Calibri" panose="020F0502020204030204" pitchFamily="34" charset="0"/>
              </a:rPr>
              <a:t>.</a:t>
            </a:r>
          </a:p>
          <a:p>
            <a:pPr marL="285750" indent="-285750" defTabSz="457200">
              <a:buFont typeface="Arial" panose="020B0604020202020204" pitchFamily="34" charset="0"/>
              <a:buChar char="•"/>
            </a:pPr>
            <a:r>
              <a:rPr lang="en-US" sz="1200" dirty="0" smtClean="0">
                <a:solidFill>
                  <a:prstClr val="black"/>
                </a:solidFill>
                <a:latin typeface="Calibri" panose="020F0502020204030204" pitchFamily="34" charset="0"/>
              </a:rPr>
              <a:t>Online Live Courses: 21 hours</a:t>
            </a:r>
          </a:p>
          <a:p>
            <a:pPr marL="285750" indent="-285750" defTabSz="457200">
              <a:buFont typeface="Arial" panose="020B0604020202020204" pitchFamily="34" charset="0"/>
              <a:buChar char="•"/>
            </a:pPr>
            <a:r>
              <a:rPr lang="en-US" sz="1200" dirty="0" smtClean="0">
                <a:solidFill>
                  <a:prstClr val="black"/>
                </a:solidFill>
                <a:latin typeface="Calibri" panose="020F0502020204030204" pitchFamily="34" charset="0"/>
              </a:rPr>
              <a:t>Assignments: 20 hours</a:t>
            </a:r>
          </a:p>
          <a:p>
            <a:pPr marL="285750" indent="-285750" defTabSz="457200">
              <a:buFont typeface="Arial" panose="020B0604020202020204" pitchFamily="34" charset="0"/>
              <a:buChar char="•"/>
            </a:pPr>
            <a:r>
              <a:rPr lang="en-US" sz="1200" dirty="0" smtClean="0">
                <a:solidFill>
                  <a:prstClr val="black"/>
                </a:solidFill>
                <a:latin typeface="Calibri" panose="020F0502020204030204" pitchFamily="34" charset="0"/>
              </a:rPr>
              <a:t>Project: 20 hours</a:t>
            </a:r>
          </a:p>
          <a:p>
            <a:pPr marL="285750" indent="-285750" defTabSz="457200">
              <a:buFont typeface="Arial" panose="020B0604020202020204" pitchFamily="34" charset="0"/>
              <a:buChar char="•"/>
            </a:pPr>
            <a:r>
              <a:rPr lang="en-US" sz="1200" dirty="0" smtClean="0">
                <a:solidFill>
                  <a:prstClr val="black"/>
                </a:solidFill>
                <a:latin typeface="Calibri" panose="020F0502020204030204" pitchFamily="34" charset="0"/>
              </a:rPr>
              <a:t>Lifetime Access + 24 X 7 Support</a:t>
            </a:r>
            <a:endParaRPr lang="en-US" sz="1200" dirty="0">
              <a:solidFill>
                <a:prstClr val="black"/>
              </a:solidFill>
              <a:latin typeface="Calibri" panose="020F0502020204030204" pitchFamily="34" charset="0"/>
            </a:endParaRPr>
          </a:p>
        </p:txBody>
      </p:sp>
      <p:sp>
        <p:nvSpPr>
          <p:cNvPr id="6" name="Rounded Rectangle 5"/>
          <p:cNvSpPr/>
          <p:nvPr/>
        </p:nvSpPr>
        <p:spPr>
          <a:xfrm>
            <a:off x="1561897" y="1431801"/>
            <a:ext cx="6080166" cy="598150"/>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2000" b="1" dirty="0">
                <a:solidFill>
                  <a:prstClr val="white"/>
                </a:solidFill>
                <a:latin typeface="Calibri" panose="020F0502020204030204" pitchFamily="34" charset="0"/>
              </a:rPr>
              <a:t>Go to </a:t>
            </a:r>
            <a:r>
              <a:rPr lang="en-US" sz="2000" b="1" dirty="0" smtClean="0">
                <a:solidFill>
                  <a:prstClr val="white"/>
                </a:solidFill>
                <a:latin typeface="Calibri" panose="020F0502020204030204" pitchFamily="34" charset="0"/>
              </a:rPr>
              <a:t>www.edureka.co/angular-js </a:t>
            </a:r>
            <a:endParaRPr lang="en-US" sz="2000" b="1" dirty="0">
              <a:solidFill>
                <a:prstClr val="white"/>
              </a:solidFill>
              <a:latin typeface="Calibri" panose="020F0502020204030204" pitchFamily="34" charset="0"/>
            </a:endParaRPr>
          </a:p>
        </p:txBody>
      </p:sp>
      <p:sp>
        <p:nvSpPr>
          <p:cNvPr id="7" name="TextBox 6"/>
          <p:cNvSpPr txBox="1"/>
          <p:nvPr/>
        </p:nvSpPr>
        <p:spPr>
          <a:xfrm>
            <a:off x="2445307" y="2088235"/>
            <a:ext cx="4227616" cy="307777"/>
          </a:xfrm>
          <a:prstGeom prst="rect">
            <a:avLst/>
          </a:prstGeom>
          <a:noFill/>
        </p:spPr>
        <p:txBody>
          <a:bodyPr wrap="square" rtlCol="0">
            <a:spAutoFit/>
          </a:bodyPr>
          <a:lstStyle/>
          <a:p>
            <a:pPr algn="ctr" defTabSz="430213">
              <a:spcAft>
                <a:spcPts val="400"/>
              </a:spcAft>
              <a:buSzPct val="100000"/>
            </a:pPr>
            <a:r>
              <a:rPr lang="en-US" sz="1400" i="1" dirty="0" smtClean="0">
                <a:solidFill>
                  <a:srgbClr val="000000"/>
                </a:solidFill>
                <a:latin typeface="Calibri" panose="020F0502020204030204" pitchFamily="34" charset="0"/>
                <a:cs typeface="HP Simplified" pitchFamily="34" charset="0"/>
              </a:rPr>
              <a:t>Batch starts from 10</a:t>
            </a:r>
            <a:r>
              <a:rPr lang="en-US" sz="1400" i="1" baseline="30000" dirty="0" smtClean="0">
                <a:solidFill>
                  <a:srgbClr val="000000"/>
                </a:solidFill>
                <a:latin typeface="Calibri" panose="020F0502020204030204" pitchFamily="34" charset="0"/>
                <a:cs typeface="HP Simplified" pitchFamily="34" charset="0"/>
              </a:rPr>
              <a:t>th</a:t>
            </a:r>
            <a:r>
              <a:rPr lang="en-US" sz="1400" i="1" dirty="0" smtClean="0">
                <a:solidFill>
                  <a:srgbClr val="000000"/>
                </a:solidFill>
                <a:latin typeface="Calibri" panose="020F0502020204030204" pitchFamily="34" charset="0"/>
                <a:cs typeface="HP Simplified" pitchFamily="34" charset="0"/>
              </a:rPr>
              <a:t> October (Weekend)</a:t>
            </a:r>
          </a:p>
        </p:txBody>
      </p:sp>
      <p:pic>
        <p:nvPicPr>
          <p:cNvPr id="8" name="Picture 7"/>
          <p:cNvPicPr preferRelativeResize="0">
            <a:picLocks noChangeArrowheads="1"/>
          </p:cNvPicPr>
          <p:nvPr/>
        </p:nvPicPr>
        <p:blipFill rotWithShape="1">
          <a:blip r:embed="rId2" cstate="email">
            <a:extLst>
              <a:ext uri="{28A0092B-C50C-407E-A947-70E740481C1C}">
                <a14:useLocalDpi xmlns:a14="http://schemas.microsoft.com/office/drawing/2010/main"/>
              </a:ext>
            </a:extLst>
          </a:blip>
          <a:srcRect l="29359" t="36990" r="29991" b="33407"/>
          <a:stretch/>
        </p:blipFill>
        <p:spPr bwMode="auto">
          <a:xfrm>
            <a:off x="2729411" y="766497"/>
            <a:ext cx="612648" cy="603504"/>
          </a:xfrm>
          <a:prstGeom prst="rect">
            <a:avLst/>
          </a:prstGeom>
          <a:noFill/>
        </p:spPr>
      </p:pic>
    </p:spTree>
    <p:extLst>
      <p:ext uri="{BB962C8B-B14F-4D97-AF65-F5344CB8AC3E}">
        <p14:creationId xmlns:p14="http://schemas.microsoft.com/office/powerpoint/2010/main" val="898851177"/>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457200"/>
            <a:r>
              <a:rPr lang="en-US" sz="4800" b="1" dirty="0" smtClean="0">
                <a:solidFill>
                  <a:prstClr val="white"/>
                </a:solidFill>
                <a:latin typeface="Calibri" panose="020F0502020204030204" pitchFamily="34" charset="0"/>
                <a:cs typeface="Calibri" panose="020F0502020204030204" pitchFamily="34" charset="0"/>
              </a:rPr>
              <a:t> Thank You</a:t>
            </a:r>
          </a:p>
          <a:p>
            <a:pPr defTabSz="457200"/>
            <a:endParaRPr lang="en-US" sz="3200" b="1" dirty="0" smtClean="0">
              <a:solidFill>
                <a:prstClr val="white"/>
              </a:solidFill>
              <a:latin typeface="Calibri" panose="020F0502020204030204" pitchFamily="34" charset="0"/>
              <a:cs typeface="Calibri" panose="020F0502020204030204" pitchFamily="34" charset="0"/>
            </a:endParaRPr>
          </a:p>
          <a:p>
            <a:pPr defTabSz="457200"/>
            <a:r>
              <a:rPr lang="en-US" sz="3200" b="1" dirty="0" smtClean="0">
                <a:solidFill>
                  <a:prstClr val="white"/>
                </a:solidFill>
                <a:latin typeface="Calibri" panose="020F0502020204030204" pitchFamily="34" charset="0"/>
                <a:cs typeface="Calibri" panose="020F0502020204030204" pitchFamily="34" charset="0"/>
              </a:rPr>
              <a:t>Questions/Queries/Feedback</a:t>
            </a:r>
          </a:p>
          <a:p>
            <a:pPr defTabSz="457200"/>
            <a:endParaRPr lang="en-US" sz="3200" b="1" dirty="0">
              <a:solidFill>
                <a:prstClr val="white"/>
              </a:solidFill>
              <a:latin typeface="Calibri" panose="020F0502020204030204" pitchFamily="34" charset="0"/>
              <a:cs typeface="Calibri" panose="020F0502020204030204" pitchFamily="34" charset="0"/>
            </a:endParaRPr>
          </a:p>
          <a:p>
            <a:pPr defTabSz="457200"/>
            <a:endParaRPr lang="en-US" sz="2000" b="1" dirty="0" smtClean="0">
              <a:solidFill>
                <a:prstClr val="white"/>
              </a:solidFill>
              <a:latin typeface="Calibri" panose="020F0502020204030204" pitchFamily="34" charset="0"/>
              <a:cs typeface="Calibri" panose="020F0502020204030204" pitchFamily="34" charset="0"/>
            </a:endParaRPr>
          </a:p>
          <a:p>
            <a:pPr defTabSz="457200"/>
            <a:r>
              <a:rPr lang="en-US" sz="2000" b="1" smtClean="0">
                <a:solidFill>
                  <a:prstClr val="white"/>
                </a:solidFill>
                <a:latin typeface="Calibri" panose="020F0502020204030204" pitchFamily="34" charset="0"/>
                <a:cs typeface="Calibri" panose="020F0502020204030204" pitchFamily="34" charset="0"/>
              </a:rPr>
              <a:t>Recording </a:t>
            </a:r>
            <a:r>
              <a:rPr lang="en-US" sz="2000" b="1" dirty="0" smtClean="0">
                <a:solidFill>
                  <a:prstClr val="white"/>
                </a:solidFill>
                <a:latin typeface="Calibri" panose="020F0502020204030204" pitchFamily="34" charset="0"/>
                <a:cs typeface="Calibri" panose="020F0502020204030204" pitchFamily="34" charset="0"/>
              </a:rPr>
              <a:t>and presentation will be made available to you within 24 hours</a:t>
            </a:r>
            <a:endParaRPr lang="en-US" sz="20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687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800" b="1" dirty="0" smtClean="0">
                <a:solidFill>
                  <a:prstClr val="white"/>
                </a:solidFill>
                <a:latin typeface="Calibri" panose="020F0502020204030204" pitchFamily="34" charset="0"/>
                <a:cs typeface="Calibri" panose="020F0502020204030204" pitchFamily="34" charset="0"/>
              </a:rPr>
              <a:t>Why AngularJS ?</a:t>
            </a:r>
            <a:endParaRPr lang="en-US" sz="48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9513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Challenges </a:t>
            </a:r>
            <a:r>
              <a:rPr lang="en-US" dirty="0"/>
              <a:t>of Web Development</a:t>
            </a:r>
          </a:p>
        </p:txBody>
      </p:sp>
      <p:pic>
        <p:nvPicPr>
          <p:cNvPr id="1026" name="Picture 2" descr="http://assets01.blog.usabilla.com/wp-content/uploads/4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4329" y="1274229"/>
            <a:ext cx="2119168" cy="11971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14305" y="660681"/>
            <a:ext cx="2079216"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esponsiveness with different devi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91580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Challenges </a:t>
            </a:r>
            <a:r>
              <a:rPr lang="en-US" dirty="0"/>
              <a:t>of Web Development</a:t>
            </a:r>
          </a:p>
        </p:txBody>
      </p:sp>
      <p:pic>
        <p:nvPicPr>
          <p:cNvPr id="1026" name="Picture 2" descr="http://assets01.blog.usabilla.com/wp-content/uploads/4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4329" y="1274229"/>
            <a:ext cx="2119168" cy="11971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14305" y="660681"/>
            <a:ext cx="2079216"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esponsiveness with different devi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7"/>
          <p:cNvSpPr/>
          <p:nvPr/>
        </p:nvSpPr>
        <p:spPr>
          <a:xfrm>
            <a:off x="6505613" y="716804"/>
            <a:ext cx="2286000" cy="369332"/>
          </a:xfrm>
          <a:prstGeom prst="rect">
            <a:avLst/>
          </a:prstGeom>
        </p:spPr>
        <p:txBody>
          <a:bodyPr wrap="square">
            <a:spAutoFit/>
          </a:bodyPr>
          <a:lstStyle/>
          <a:p>
            <a:pPr lvl="0" algn="just" defTabSz="685783">
              <a:lnSpc>
                <a:spcPct val="150000"/>
              </a:lnSpc>
              <a:buClr>
                <a:srgbClr val="262626"/>
              </a:buCl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Diverse User Preferen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3762" y="1189030"/>
            <a:ext cx="2139447" cy="1506369"/>
          </a:xfrm>
          <a:prstGeom prst="rect">
            <a:avLst/>
          </a:prstGeom>
        </p:spPr>
      </p:pic>
    </p:spTree>
    <p:extLst>
      <p:ext uri="{BB962C8B-B14F-4D97-AF65-F5344CB8AC3E}">
        <p14:creationId xmlns:p14="http://schemas.microsoft.com/office/powerpoint/2010/main" val="1554089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Challenges </a:t>
            </a:r>
            <a:r>
              <a:rPr lang="en-US" dirty="0"/>
              <a:t>of Web Development</a:t>
            </a:r>
          </a:p>
        </p:txBody>
      </p:sp>
      <p:pic>
        <p:nvPicPr>
          <p:cNvPr id="1026" name="Picture 2" descr="http://assets01.blog.usabilla.com/wp-content/uploads/4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4329" y="1274229"/>
            <a:ext cx="2119168" cy="11971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14305" y="660681"/>
            <a:ext cx="2079216"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esponsiveness with different devi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7"/>
          <p:cNvSpPr/>
          <p:nvPr/>
        </p:nvSpPr>
        <p:spPr>
          <a:xfrm>
            <a:off x="6505613" y="716804"/>
            <a:ext cx="2286000" cy="369332"/>
          </a:xfrm>
          <a:prstGeom prst="rect">
            <a:avLst/>
          </a:prstGeom>
        </p:spPr>
        <p:txBody>
          <a:bodyPr wrap="square">
            <a:spAutoFit/>
          </a:bodyPr>
          <a:lstStyle/>
          <a:p>
            <a:pPr lvl="0" algn="just" defTabSz="685783">
              <a:lnSpc>
                <a:spcPct val="150000"/>
              </a:lnSpc>
              <a:buClr>
                <a:srgbClr val="262626"/>
              </a:buCl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Diverse User Preferen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3762" y="1189030"/>
            <a:ext cx="2139447" cy="15063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903" y="3231399"/>
            <a:ext cx="1965206" cy="1473234"/>
          </a:xfrm>
          <a:prstGeom prst="rect">
            <a:avLst/>
          </a:prstGeom>
        </p:spPr>
      </p:pic>
      <p:sp>
        <p:nvSpPr>
          <p:cNvPr id="13" name="Rectangle 12"/>
          <p:cNvSpPr/>
          <p:nvPr/>
        </p:nvSpPr>
        <p:spPr>
          <a:xfrm>
            <a:off x="322473" y="2590671"/>
            <a:ext cx="2462880"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Agility to server new requests with enterprise standard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841820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Challenges </a:t>
            </a:r>
            <a:r>
              <a:rPr lang="en-US" dirty="0"/>
              <a:t>of Web Development</a:t>
            </a:r>
          </a:p>
        </p:txBody>
      </p:sp>
      <p:pic>
        <p:nvPicPr>
          <p:cNvPr id="1026" name="Picture 2" descr="http://assets01.blog.usabilla.com/wp-content/uploads/4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4329" y="1274229"/>
            <a:ext cx="2119168" cy="11971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14305" y="660681"/>
            <a:ext cx="2079216"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esponsiveness with different devi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7"/>
          <p:cNvSpPr/>
          <p:nvPr/>
        </p:nvSpPr>
        <p:spPr>
          <a:xfrm>
            <a:off x="6505613" y="716804"/>
            <a:ext cx="2286000" cy="369332"/>
          </a:xfrm>
          <a:prstGeom prst="rect">
            <a:avLst/>
          </a:prstGeom>
        </p:spPr>
        <p:txBody>
          <a:bodyPr wrap="square">
            <a:spAutoFit/>
          </a:bodyPr>
          <a:lstStyle/>
          <a:p>
            <a:pPr lvl="0" algn="just" defTabSz="685783">
              <a:lnSpc>
                <a:spcPct val="150000"/>
              </a:lnSpc>
              <a:buClr>
                <a:srgbClr val="262626"/>
              </a:buCl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Diverse User Preferen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p:cNvSpPr/>
          <p:nvPr/>
        </p:nvSpPr>
        <p:spPr>
          <a:xfrm>
            <a:off x="6820988" y="2709970"/>
            <a:ext cx="2470826" cy="369332"/>
          </a:xfrm>
          <a:prstGeom prst="rect">
            <a:avLst/>
          </a:prstGeom>
        </p:spPr>
        <p:txBody>
          <a:bodyPr wrap="square">
            <a:spAutoFit/>
          </a:bodyPr>
          <a:lstStyle/>
          <a:p>
            <a:pPr lvl="0" algn="just"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Multiple Skill Set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3762" y="1189030"/>
            <a:ext cx="2139447" cy="15063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903" y="3231399"/>
            <a:ext cx="1965206" cy="1473234"/>
          </a:xfrm>
          <a:prstGeom prst="rect">
            <a:avLst/>
          </a:prstGeom>
        </p:spPr>
      </p:pic>
      <p:sp>
        <p:nvSpPr>
          <p:cNvPr id="13" name="Rectangle 12"/>
          <p:cNvSpPr/>
          <p:nvPr/>
        </p:nvSpPr>
        <p:spPr>
          <a:xfrm>
            <a:off x="322473" y="2590671"/>
            <a:ext cx="2462880"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Agility to server new requests with enterprise standard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5607" y="3098606"/>
            <a:ext cx="1770908" cy="1680452"/>
          </a:xfrm>
          <a:prstGeom prst="rect">
            <a:avLst/>
          </a:prstGeom>
        </p:spPr>
      </p:pic>
    </p:spTree>
    <p:extLst>
      <p:ext uri="{BB962C8B-B14F-4D97-AF65-F5344CB8AC3E}">
        <p14:creationId xmlns:p14="http://schemas.microsoft.com/office/powerpoint/2010/main" val="734706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Challenges </a:t>
            </a:r>
            <a:r>
              <a:rPr lang="en-US" dirty="0"/>
              <a:t>of Web Development</a:t>
            </a:r>
          </a:p>
        </p:txBody>
      </p:sp>
      <p:pic>
        <p:nvPicPr>
          <p:cNvPr id="1026" name="Picture 2" descr="http://assets01.blog.usabilla.com/wp-content/uploads/4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4329" y="1274229"/>
            <a:ext cx="2119168" cy="11971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14305" y="660681"/>
            <a:ext cx="2079216"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esponsiveness with different devi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7"/>
          <p:cNvSpPr/>
          <p:nvPr/>
        </p:nvSpPr>
        <p:spPr>
          <a:xfrm>
            <a:off x="6505613" y="716804"/>
            <a:ext cx="2286000" cy="369332"/>
          </a:xfrm>
          <a:prstGeom prst="rect">
            <a:avLst/>
          </a:prstGeom>
        </p:spPr>
        <p:txBody>
          <a:bodyPr wrap="square">
            <a:spAutoFit/>
          </a:bodyPr>
          <a:lstStyle/>
          <a:p>
            <a:pPr lvl="0" algn="just" defTabSz="685783">
              <a:lnSpc>
                <a:spcPct val="150000"/>
              </a:lnSpc>
              <a:buClr>
                <a:srgbClr val="262626"/>
              </a:buCl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Diverse User Preference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p:cNvSpPr/>
          <p:nvPr/>
        </p:nvSpPr>
        <p:spPr>
          <a:xfrm>
            <a:off x="6820988" y="2709970"/>
            <a:ext cx="2470826" cy="369332"/>
          </a:xfrm>
          <a:prstGeom prst="rect">
            <a:avLst/>
          </a:prstGeom>
        </p:spPr>
        <p:txBody>
          <a:bodyPr wrap="square">
            <a:spAutoFit/>
          </a:bodyPr>
          <a:lstStyle/>
          <a:p>
            <a:pPr lvl="0" algn="just"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Multiple Skill Set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3762" y="1189030"/>
            <a:ext cx="2139447" cy="15063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903" y="3231399"/>
            <a:ext cx="1965206" cy="1473234"/>
          </a:xfrm>
          <a:prstGeom prst="rect">
            <a:avLst/>
          </a:prstGeom>
        </p:spPr>
      </p:pic>
      <p:sp>
        <p:nvSpPr>
          <p:cNvPr id="13" name="Rectangle 12"/>
          <p:cNvSpPr/>
          <p:nvPr/>
        </p:nvSpPr>
        <p:spPr>
          <a:xfrm>
            <a:off x="322473" y="2590671"/>
            <a:ext cx="2462880" cy="646331"/>
          </a:xfrm>
          <a:prstGeom prst="rect">
            <a:avLst/>
          </a:prstGeom>
        </p:spPr>
        <p:txBody>
          <a:bodyPr wrap="square">
            <a:spAutoFit/>
          </a:bodyPr>
          <a:lstStyle/>
          <a:p>
            <a:pPr lvl="0" algn="ctr" defTabSz="685783">
              <a:lnSpc>
                <a:spcPct val="150000"/>
              </a:lnSpc>
              <a:buClr>
                <a:srgbClr val="262626"/>
              </a:buCl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Agility to server new requests with enterprise standards</a:t>
            </a:r>
            <a:endPar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5607" y="3098606"/>
            <a:ext cx="1770908" cy="1680452"/>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6181" y="1555003"/>
            <a:ext cx="2717665" cy="2717665"/>
          </a:xfrm>
          <a:prstGeom prst="rect">
            <a:avLst/>
          </a:prstGeom>
        </p:spPr>
      </p:pic>
      <p:sp>
        <p:nvSpPr>
          <p:cNvPr id="17" name="Rectangle 16"/>
          <p:cNvSpPr/>
          <p:nvPr/>
        </p:nvSpPr>
        <p:spPr>
          <a:xfrm>
            <a:off x="3343413" y="901470"/>
            <a:ext cx="2392519" cy="878702"/>
          </a:xfrm>
          <a:prstGeom prst="rect">
            <a:avLst/>
          </a:prstGeom>
        </p:spPr>
        <p:txBody>
          <a:bodyPr wrap="square">
            <a:spAutoFit/>
          </a:bodyPr>
          <a:lstStyle/>
          <a:p>
            <a:pPr lvl="0" algn="ctr" defTabSz="685783">
              <a:lnSpc>
                <a:spcPct val="150000"/>
              </a:lnSpc>
              <a:buClr>
                <a:srgbClr val="262626"/>
              </a:buClr>
            </a:pPr>
            <a:r>
              <a:rPr lang="en-US" sz="1800" b="1" dirty="0" smtClean="0">
                <a:solidFill>
                  <a:srgbClr val="0070C0"/>
                </a:solidFill>
                <a:latin typeface="Tw Cen MT" panose="020B0602020104020603" pitchFamily="34" charset="0"/>
                <a:ea typeface="Tahoma" panose="020B0604030504040204" pitchFamily="34" charset="0"/>
                <a:cs typeface="Tahoma" panose="020B0604030504040204" pitchFamily="34" charset="0"/>
              </a:rPr>
              <a:t>AngularJS will solve these problems</a:t>
            </a:r>
            <a:endParaRPr lang="en-IN" sz="1800" b="1" dirty="0">
              <a:solidFill>
                <a:srgbClr val="262626"/>
              </a:solidFill>
              <a:latin typeface="Tw Cen MT" panose="020B0602020104020603"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4635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800" b="1" dirty="0" smtClean="0">
                <a:solidFill>
                  <a:prstClr val="white"/>
                </a:solidFill>
                <a:latin typeface="Calibri" panose="020F0502020204030204" pitchFamily="34" charset="0"/>
                <a:cs typeface="Calibri" panose="020F0502020204030204" pitchFamily="34" charset="0"/>
              </a:rPr>
              <a:t>What is AngularJS ?</a:t>
            </a:r>
            <a:endParaRPr lang="en-US" sz="48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2411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ain4ce_course_templat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ebinar EdurekaTemplate" id="{452A3A16-C0C5-41A8-9027-3FB0E2E247B2}" vid="{95E9C04D-E104-4D45-BFF2-79ABBB5D25AF}"/>
    </a:ext>
  </a:extLst>
</a:theme>
</file>

<file path=ppt/theme/theme2.xml><?xml version="1.0" encoding="utf-8"?>
<a:theme xmlns:a="http://schemas.openxmlformats.org/drawingml/2006/main" name="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1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4.xml><?xml version="1.0" encoding="utf-8"?>
<a:theme xmlns:a="http://schemas.openxmlformats.org/drawingml/2006/main" name="2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5.xml><?xml version="1.0" encoding="utf-8"?>
<a:theme xmlns:a="http://schemas.openxmlformats.org/drawingml/2006/main" name="3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ebinar EdurekaTemplate</Template>
  <TotalTime>2215</TotalTime>
  <Words>622</Words>
  <Application>Microsoft Office PowerPoint</Application>
  <PresentationFormat>On-screen Show (16:9)</PresentationFormat>
  <Paragraphs>124</Paragraphs>
  <Slides>26</Slides>
  <Notes>0</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41" baseType="lpstr">
      <vt:lpstr>Arial</vt:lpstr>
      <vt:lpstr>Calibri</vt:lpstr>
      <vt:lpstr>Castellar</vt:lpstr>
      <vt:lpstr>HP Simplified</vt:lpstr>
      <vt:lpstr>Lucida Grande</vt:lpstr>
      <vt:lpstr>Symbol</vt:lpstr>
      <vt:lpstr>Tahoma</vt:lpstr>
      <vt:lpstr>Tw Cen MT</vt:lpstr>
      <vt:lpstr>Wingdings</vt:lpstr>
      <vt:lpstr>Brain4ce_course_template</vt:lpstr>
      <vt:lpstr>HP_PPT_Standard_16x9</vt:lpstr>
      <vt:lpstr>1_HP_PPT_Standard_16x9</vt:lpstr>
      <vt:lpstr>2_HP_PPT_Standard_16x9</vt:lpstr>
      <vt:lpstr>3_HP_PPT_Standard_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mala</dc:creator>
  <cp:lastModifiedBy>Awanish</cp:lastModifiedBy>
  <cp:revision>204</cp:revision>
  <dcterms:created xsi:type="dcterms:W3CDTF">2015-04-07T13:08:00Z</dcterms:created>
  <dcterms:modified xsi:type="dcterms:W3CDTF">2015-10-06T14:05:53Z</dcterms:modified>
</cp:coreProperties>
</file>